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6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  <p:sldMasterId id="2147483864" r:id="rId6"/>
    <p:sldMasterId id="2147483681" r:id="rId7"/>
    <p:sldMasterId id="2147483689" r:id="rId8"/>
    <p:sldMasterId id="2147483716" r:id="rId9"/>
  </p:sldMasterIdLst>
  <p:notesMasterIdLst>
    <p:notesMasterId r:id="rId12"/>
  </p:notesMasterIdLst>
  <p:handoutMasterIdLst>
    <p:handoutMasterId r:id="rId13"/>
  </p:handoutMasterIdLst>
  <p:sldIdLst>
    <p:sldId id="2147472182" r:id="rId10"/>
    <p:sldId id="2147472184" r:id="rId11"/>
  </p:sldIdLst>
  <p:sldSz cx="12192000" cy="6858000"/>
  <p:notesSz cx="6888163" cy="10020300"/>
  <p:custDataLst>
    <p:tags r:id="rId1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pos="7174" userDrawn="1">
          <p15:clr>
            <a:srgbClr val="A4A3A4"/>
          </p15:clr>
        </p15:guide>
        <p15:guide id="5" orient="horz" pos="30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5" userDrawn="1">
          <p15:clr>
            <a:srgbClr val="A4A3A4"/>
          </p15:clr>
        </p15:guide>
        <p15:guide id="2" pos="217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4F78"/>
    <a:srgbClr val="CAE8F6"/>
    <a:srgbClr val="0094D8"/>
    <a:srgbClr val="FFFFFF"/>
    <a:srgbClr val="EDF7F7"/>
    <a:srgbClr val="DAE9F6"/>
    <a:srgbClr val="786BEF"/>
    <a:srgbClr val="786CEA"/>
    <a:srgbClr val="66C1BF"/>
    <a:srgbClr val="E0F2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32" autoAdjust="0"/>
    <p:restoredTop sz="77932" autoAdjust="0"/>
  </p:normalViewPr>
  <p:slideViewPr>
    <p:cSldViewPr snapToGrid="0" showGuides="1">
      <p:cViewPr varScale="1">
        <p:scale>
          <a:sx n="106" d="100"/>
          <a:sy n="106" d="100"/>
        </p:scale>
        <p:origin x="504" y="96"/>
      </p:cViewPr>
      <p:guideLst>
        <p:guide pos="3817"/>
        <p:guide pos="7174"/>
        <p:guide orient="horz" pos="3022"/>
      </p:guideLst>
    </p:cSldViewPr>
  </p:slideViewPr>
  <p:outlineViewPr>
    <p:cViewPr>
      <p:scale>
        <a:sx n="33" d="100"/>
        <a:sy n="33" d="100"/>
      </p:scale>
      <p:origin x="0" y="-6843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5" d="100"/>
          <a:sy n="55" d="100"/>
        </p:scale>
        <p:origin x="3018" y="60"/>
      </p:cViewPr>
      <p:guideLst>
        <p:guide orient="horz" pos="3155"/>
        <p:guide pos="217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EFF19A59-27F9-4D5F-9A78-1FC2D7C74F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D38353-3320-4759-A856-8610AED92F8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0934" y="0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C7FAE3B6-AEA4-4DC4-B259-3E020BC8A997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BA7833C-64F9-479A-BDC1-F7DCD37721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8724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C70AB4-7108-4933-9391-A40CBA531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0934" y="9518724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D407C9C1-1246-4EFC-8BB5-51B2293CC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790878"/>
      </p:ext>
    </p:extLst>
  </p:cSld>
  <p:clrMap bg1="lt1" tx1="dk1" bg2="lt2" tx2="dk2" accent1="accent1" accent2="accent2" accent3="accent3" accent4="accent4" accent5="accent5" accent6="accent6" hlink="hlink" folHlink="folHlink"/>
  <p:hf ftr="0" dt="0"/>
  <p:extLst>
    <p:ext uri="{56416CCD-93CA-4268-BC5B-53C4BB910035}">
      <p15:sldGuideLst xmlns:p15="http://schemas.microsoft.com/office/powerpoint/2012/main">
        <p15:guide id="1" orient="horz" pos="3156" userDrawn="1">
          <p15:clr>
            <a:srgbClr val="F26B43"/>
          </p15:clr>
        </p15:guide>
        <p15:guide id="2" pos="216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688494" y="155964"/>
            <a:ext cx="5511174" cy="501576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ctr">
              <a:defRPr sz="1200"/>
            </a:lvl1pPr>
          </a:lstStyle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691938" y="9362760"/>
            <a:ext cx="1492812" cy="501576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fld id="{DDAD3D5C-A49C-4E6B-A239-B4E9EA73BA38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98500" y="1252538"/>
            <a:ext cx="5491163" cy="3089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8495" y="4821859"/>
            <a:ext cx="5511174" cy="3945303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2697675" y="9362760"/>
            <a:ext cx="1492811" cy="501576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ctr">
              <a:defRPr sz="1200"/>
            </a:lvl1pPr>
          </a:lstStyle>
          <a:p>
            <a:fld id="{AC497CE8-006A-4D39-B790-B2C157C2517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715D6FA-7C00-492E-B2A9-CE3FF8084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744" y="9174895"/>
            <a:ext cx="1070373" cy="687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8493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005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3779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17.png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5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Relationship Id="rId6" Type="http://schemas.openxmlformats.org/officeDocument/2006/relationships/image" Target="../media/image18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15.png"/><Relationship Id="rId4" Type="http://schemas.openxmlformats.org/officeDocument/2006/relationships/image" Target="../media/image5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5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CC55F63E-4F63-DCFB-26D5-EF2E9E6D34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2490" y="0"/>
            <a:ext cx="11779510" cy="6862763"/>
          </a:xfrm>
          <a:custGeom>
            <a:avLst/>
            <a:gdLst>
              <a:gd name="connsiteX0" fmla="*/ 1561891 w 11779510"/>
              <a:gd name="connsiteY0" fmla="*/ 0 h 6862763"/>
              <a:gd name="connsiteX1" fmla="*/ 11779510 w 11779510"/>
              <a:gd name="connsiteY1" fmla="*/ 0 h 6862763"/>
              <a:gd name="connsiteX2" fmla="*/ 11779510 w 11779510"/>
              <a:gd name="connsiteY2" fmla="*/ 6862763 h 6862763"/>
              <a:gd name="connsiteX3" fmla="*/ 1669548 w 11779510"/>
              <a:gd name="connsiteY3" fmla="*/ 6862763 h 6862763"/>
              <a:gd name="connsiteX4" fmla="*/ 0 w 11779510"/>
              <a:gd name="connsiteY4" fmla="*/ 4818063 h 6862763"/>
              <a:gd name="connsiteX5" fmla="*/ 1586345 w 11779510"/>
              <a:gd name="connsiteY5" fmla="*/ 2453 h 6862763"/>
              <a:gd name="connsiteX6" fmla="*/ 1560861 w 11779510"/>
              <a:gd name="connsiteY6" fmla="*/ 2424 h 6862763"/>
              <a:gd name="connsiteX0" fmla="*/ 1560861 w 11779510"/>
              <a:gd name="connsiteY0" fmla="*/ 2424 h 6862763"/>
              <a:gd name="connsiteX1" fmla="*/ 11779510 w 11779510"/>
              <a:gd name="connsiteY1" fmla="*/ 0 h 6862763"/>
              <a:gd name="connsiteX2" fmla="*/ 11779510 w 11779510"/>
              <a:gd name="connsiteY2" fmla="*/ 6862763 h 6862763"/>
              <a:gd name="connsiteX3" fmla="*/ 1669548 w 11779510"/>
              <a:gd name="connsiteY3" fmla="*/ 6862763 h 6862763"/>
              <a:gd name="connsiteX4" fmla="*/ 0 w 11779510"/>
              <a:gd name="connsiteY4" fmla="*/ 4818063 h 6862763"/>
              <a:gd name="connsiteX5" fmla="*/ 1586345 w 11779510"/>
              <a:gd name="connsiteY5" fmla="*/ 2453 h 6862763"/>
              <a:gd name="connsiteX6" fmla="*/ 1560861 w 11779510"/>
              <a:gd name="connsiteY6" fmla="*/ 2424 h 6862763"/>
              <a:gd name="connsiteX0" fmla="*/ 1586345 w 11779510"/>
              <a:gd name="connsiteY0" fmla="*/ 2453 h 6862763"/>
              <a:gd name="connsiteX1" fmla="*/ 11779510 w 11779510"/>
              <a:gd name="connsiteY1" fmla="*/ 0 h 6862763"/>
              <a:gd name="connsiteX2" fmla="*/ 11779510 w 11779510"/>
              <a:gd name="connsiteY2" fmla="*/ 6862763 h 6862763"/>
              <a:gd name="connsiteX3" fmla="*/ 1669548 w 11779510"/>
              <a:gd name="connsiteY3" fmla="*/ 6862763 h 6862763"/>
              <a:gd name="connsiteX4" fmla="*/ 0 w 11779510"/>
              <a:gd name="connsiteY4" fmla="*/ 4818063 h 6862763"/>
              <a:gd name="connsiteX5" fmla="*/ 1586345 w 11779510"/>
              <a:gd name="connsiteY5" fmla="*/ 2453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79510" h="6862763">
                <a:moveTo>
                  <a:pt x="1586345" y="2453"/>
                </a:moveTo>
                <a:lnTo>
                  <a:pt x="11779510" y="0"/>
                </a:lnTo>
                <a:lnTo>
                  <a:pt x="11779510" y="6862763"/>
                </a:lnTo>
                <a:lnTo>
                  <a:pt x="1669548" y="6862763"/>
                </a:lnTo>
                <a:lnTo>
                  <a:pt x="0" y="4818063"/>
                </a:lnTo>
                <a:lnTo>
                  <a:pt x="1586345" y="245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sv-SE"/>
              <a:t>Klicka här för att ändra format på bakgrundstexten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DABADD7-0A30-4292-4688-5E6E59E1C6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55EBEFB-B9CF-F7FB-00F2-B3B83F4D9F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060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4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5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11" name="Bild 10">
            <a:extLst>
              <a:ext uri="{FF2B5EF4-FFF2-40B4-BE49-F238E27FC236}">
                <a16:creationId xmlns:a16="http://schemas.microsoft.com/office/drawing/2014/main" id="{90B169A9-D3DE-A0F0-2C06-C92DB82396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705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1781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67008650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D49AEAF1-5BF2-AC7E-AE60-FF01D377CA7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-2"/>
            <a:ext cx="3196473" cy="6858001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3EFD576-5AAC-867D-D907-C3B188DCF35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7C0D395-ECD7-D9E7-7A46-359B73632872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51917576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C689DC06-CE17-E387-58F9-337FA2D63D8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-2"/>
            <a:ext cx="3196473" cy="68580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15185DC-A05A-34CD-CAF4-85801205C85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8909718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8C8BFD3B-C71D-6F1E-EDEB-9D398C662E2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0" y="-2"/>
            <a:ext cx="3196473" cy="6858001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79EE6303-0237-800F-F9CF-4C2A2B4129AF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3848688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rgbClr val="E0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57234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2556162B-8CAF-B770-34D1-76B88B6A40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0563961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 dirty="0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C00BF28B-CC6B-2C5D-1240-488B1C557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15F3BB6-D127-5246-3D09-F92CECC1327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 dirty="0"/>
          </a:p>
          <a:p>
            <a:pPr algn="l"/>
            <a:r>
              <a:rPr lang="sv-SE" sz="1600" dirty="0"/>
              <a:t>Vid val av citattecken gå upp till fontstorlek 200 och lägg centrerad.</a:t>
            </a:r>
          </a:p>
          <a:p>
            <a:pPr algn="l"/>
            <a:endParaRPr lang="sv-SE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/>
              <a:t>Vid citat: Citerad person nedanför i den mindre textrutan</a:t>
            </a:r>
          </a:p>
          <a:p>
            <a:pPr algn="l"/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3585688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34672579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0A763847-0FF3-55CD-509C-2B188D1CA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2 textbox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6" name="Platshållare för innehåll 8">
            <a:extLst>
              <a:ext uri="{FF2B5EF4-FFF2-40B4-BE49-F238E27FC236}">
                <a16:creationId xmlns:a16="http://schemas.microsoft.com/office/drawing/2014/main" id="{6B75D467-998F-D685-0336-B7FCD071A9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769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EC97A58E-D4ED-33D1-0D2B-B9FD4868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867628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620484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175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3AF02A2-6452-DFE1-7070-2C403BB2B2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 2 textbox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1" name="Platshållare för innehåll 8">
            <a:extLst>
              <a:ext uri="{FF2B5EF4-FFF2-40B4-BE49-F238E27FC236}">
                <a16:creationId xmlns:a16="http://schemas.microsoft.com/office/drawing/2014/main" id="{012DD56E-C0B2-A1FF-6938-1B399F20EB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8101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88B9E44F-D8E8-4503-B10F-D7FFE92145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10418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grön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67896D7-7ED8-613B-BF4D-23D0FEE98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96D7-7ED8-613B-BF4D-23D0FEE98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33D36C3-22DF-EE00-D736-DEF64035D73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1680487-8ECC-1281-F984-659829371DB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317480" cy="730250"/>
          </a:xfrm>
        </p:spPr>
        <p:txBody>
          <a:bodyPr vert="horz"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B8ED537C-9BD4-6091-E572-371F077FC53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3165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onat fält och infographic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7">
            <a:extLst>
              <a:ext uri="{FF2B5EF4-FFF2-40B4-BE49-F238E27FC236}">
                <a16:creationId xmlns:a16="http://schemas.microsoft.com/office/drawing/2014/main" id="{BE3939F4-980F-438B-A738-984A96B50FC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805488"/>
          </a:xfrm>
        </p:spPr>
        <p:txBody>
          <a:bodyPr/>
          <a:lstStyle/>
          <a:p>
            <a:endParaRPr lang="sv-SE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82C1FC-9A9F-DFD2-41C2-5B013E7BD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2C1FC-9A9F-DFD2-41C2-5B013E7BD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FEC3D090-8EE9-B973-C944-8780931BF5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05488"/>
            <a:ext cx="12192000" cy="1052512"/>
          </a:xfrm>
          <a:solidFill>
            <a:schemeClr val="accent1">
              <a:alpha val="8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 dirty="0"/>
              <a:t>     </a:t>
            </a:r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C20C6FE0-DD8F-44C7-1C61-0BD644726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F611F6A4-9450-F432-2712-B50DFFD3E9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09504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12">
            <a:extLst>
              <a:ext uri="{FF2B5EF4-FFF2-40B4-BE49-F238E27FC236}">
                <a16:creationId xmlns:a16="http://schemas.microsoft.com/office/drawing/2014/main" id="{64123DC2-728F-CF0F-96F8-8FAA6CF054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0808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445CE97E-A6AE-9F5C-1D93-9342E23F14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112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text 12">
            <a:extLst>
              <a:ext uri="{FF2B5EF4-FFF2-40B4-BE49-F238E27FC236}">
                <a16:creationId xmlns:a16="http://schemas.microsoft.com/office/drawing/2014/main" id="{2DF3AA84-ABFF-BC1E-3333-5C61C7FD39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3413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4A58953E-908B-E036-6337-8AB22F146DAB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D6FDEEB2-F9AC-BC62-0A11-F8E3CCDE9B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32852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DA09FCB3-41DF-D6F1-FBF6-484175506ED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04156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3">
            <a:extLst>
              <a:ext uri="{FF2B5EF4-FFF2-40B4-BE49-F238E27FC236}">
                <a16:creationId xmlns:a16="http://schemas.microsoft.com/office/drawing/2014/main" id="{6D202FFB-85C2-7E93-D0D2-5D348D63999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75460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8" name="Platshållare för bild 3">
            <a:extLst>
              <a:ext uri="{FF2B5EF4-FFF2-40B4-BE49-F238E27FC236}">
                <a16:creationId xmlns:a16="http://schemas.microsoft.com/office/drawing/2014/main" id="{7F60D9FC-939B-FADB-4354-5025A7172C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46764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20" name="Rubrik 19">
            <a:extLst>
              <a:ext uri="{FF2B5EF4-FFF2-40B4-BE49-F238E27FC236}">
                <a16:creationId xmlns:a16="http://schemas.microsoft.com/office/drawing/2014/main" id="{F583B662-D433-7A5A-455A-D624813B0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9747833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DCF29-19EA-8168-EE55-FB1CDD331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87F7868-1FF0-25BE-059F-FD245B16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D4A9AB4-4EAD-E21F-45DC-B63EC8A7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0DB82C-BC96-CDA0-B810-4C147790C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B9BF076D-E41B-9D50-0DE7-B9EFA5727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C3512A2-1C57-DCA5-DD1C-EF27DEEA7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bild 6">
            <a:extLst>
              <a:ext uri="{FF2B5EF4-FFF2-40B4-BE49-F238E27FC236}">
                <a16:creationId xmlns:a16="http://schemas.microsoft.com/office/drawing/2014/main" id="{B9EC2212-F9A3-51F6-F14F-226FBDABAB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7442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1" name="Platshållare för bild 6">
            <a:extLst>
              <a:ext uri="{FF2B5EF4-FFF2-40B4-BE49-F238E27FC236}">
                <a16:creationId xmlns:a16="http://schemas.microsoft.com/office/drawing/2014/main" id="{74DB19ED-BC10-0A24-A718-42849A015E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09057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2" name="Platshållare för bild 6">
            <a:extLst>
              <a:ext uri="{FF2B5EF4-FFF2-40B4-BE49-F238E27FC236}">
                <a16:creationId xmlns:a16="http://schemas.microsoft.com/office/drawing/2014/main" id="{1C69EDE8-256D-69CF-7E56-54BF86DCB1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43691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3" name="Platshållare för bild 6">
            <a:extLst>
              <a:ext uri="{FF2B5EF4-FFF2-40B4-BE49-F238E27FC236}">
                <a16:creationId xmlns:a16="http://schemas.microsoft.com/office/drawing/2014/main" id="{D0D6F316-7BCE-4D4E-CA6C-5E5F438EFB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78325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4" name="Platshållare för bild 6">
            <a:extLst>
              <a:ext uri="{FF2B5EF4-FFF2-40B4-BE49-F238E27FC236}">
                <a16:creationId xmlns:a16="http://schemas.microsoft.com/office/drawing/2014/main" id="{56CAEABF-3087-DD20-A0E6-CACD575E67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1295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5" name="Platshållare för bild 6">
            <a:extLst>
              <a:ext uri="{FF2B5EF4-FFF2-40B4-BE49-F238E27FC236}">
                <a16:creationId xmlns:a16="http://schemas.microsoft.com/office/drawing/2014/main" id="{4346C7EC-D65D-14A5-6CA0-C1FB615956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4759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FD3E3ADE-1DF5-89E9-2FB2-902D3F8CC5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182226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1" name="Platshållare för text 8">
            <a:extLst>
              <a:ext uri="{FF2B5EF4-FFF2-40B4-BE49-F238E27FC236}">
                <a16:creationId xmlns:a16="http://schemas.microsoft.com/office/drawing/2014/main" id="{CDC89450-DF21-0104-80B2-330773F8C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3061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2" name="Platshållare för text 8">
            <a:extLst>
              <a:ext uri="{FF2B5EF4-FFF2-40B4-BE49-F238E27FC236}">
                <a16:creationId xmlns:a16="http://schemas.microsoft.com/office/drawing/2014/main" id="{D198491F-6B28-D6CA-766E-184E796546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07922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3" name="Platshållare för text 8">
            <a:extLst>
              <a:ext uri="{FF2B5EF4-FFF2-40B4-BE49-F238E27FC236}">
                <a16:creationId xmlns:a16="http://schemas.microsoft.com/office/drawing/2014/main" id="{51129A51-6AB9-55DC-46A5-5D1692359F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42783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4" name="Platshållare för text 8">
            <a:extLst>
              <a:ext uri="{FF2B5EF4-FFF2-40B4-BE49-F238E27FC236}">
                <a16:creationId xmlns:a16="http://schemas.microsoft.com/office/drawing/2014/main" id="{4F7BB43D-C510-6D77-0694-0EF652CD7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7644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5" name="Platshållare för text 8">
            <a:extLst>
              <a:ext uri="{FF2B5EF4-FFF2-40B4-BE49-F238E27FC236}">
                <a16:creationId xmlns:a16="http://schemas.microsoft.com/office/drawing/2014/main" id="{91DECD49-06E6-AAA4-F5E8-C876FB7B77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12505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6" name="Platshållare för text 8">
            <a:extLst>
              <a:ext uri="{FF2B5EF4-FFF2-40B4-BE49-F238E27FC236}">
                <a16:creationId xmlns:a16="http://schemas.microsoft.com/office/drawing/2014/main" id="{0423B971-ACF7-63E8-42BC-85AA4EEAEC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4736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7" name="Platshållare för text 8">
            <a:extLst>
              <a:ext uri="{FF2B5EF4-FFF2-40B4-BE49-F238E27FC236}">
                <a16:creationId xmlns:a16="http://schemas.microsoft.com/office/drawing/2014/main" id="{A7B6AB28-470B-80D7-7967-EE0B50035F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18222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8" name="Platshållare för bild 6">
            <a:extLst>
              <a:ext uri="{FF2B5EF4-FFF2-40B4-BE49-F238E27FC236}">
                <a16:creationId xmlns:a16="http://schemas.microsoft.com/office/drawing/2014/main" id="{B988E9D1-A9EE-8536-5E80-4278CC8781F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978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9" name="Platshållare för text 8">
            <a:extLst>
              <a:ext uri="{FF2B5EF4-FFF2-40B4-BE49-F238E27FC236}">
                <a16:creationId xmlns:a16="http://schemas.microsoft.com/office/drawing/2014/main" id="{176CFCE2-E9A5-0CA6-E6BE-E449842FAB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8200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0" name="Platshållare för bild 6">
            <a:extLst>
              <a:ext uri="{FF2B5EF4-FFF2-40B4-BE49-F238E27FC236}">
                <a16:creationId xmlns:a16="http://schemas.microsoft.com/office/drawing/2014/main" id="{70EFB29D-8BBB-F0AB-75F3-411A2B52546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17442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1" name="Platshållare för bild 6">
            <a:extLst>
              <a:ext uri="{FF2B5EF4-FFF2-40B4-BE49-F238E27FC236}">
                <a16:creationId xmlns:a16="http://schemas.microsoft.com/office/drawing/2014/main" id="{69056CC5-2D14-C0B7-D2DD-298DBA4615A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09057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2" name="Platshållare för bild 6">
            <a:extLst>
              <a:ext uri="{FF2B5EF4-FFF2-40B4-BE49-F238E27FC236}">
                <a16:creationId xmlns:a16="http://schemas.microsoft.com/office/drawing/2014/main" id="{1073DEDC-8888-9BF2-4FED-B0C96E0946D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43691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3" name="Platshållare för bild 6">
            <a:extLst>
              <a:ext uri="{FF2B5EF4-FFF2-40B4-BE49-F238E27FC236}">
                <a16:creationId xmlns:a16="http://schemas.microsoft.com/office/drawing/2014/main" id="{46EAD82B-EA53-D6E7-73AB-4420295184E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78325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4" name="Platshållare för bild 6">
            <a:extLst>
              <a:ext uri="{FF2B5EF4-FFF2-40B4-BE49-F238E27FC236}">
                <a16:creationId xmlns:a16="http://schemas.microsoft.com/office/drawing/2014/main" id="{FE2ED5C7-8454-9DA0-A6DA-23BBECC3579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1295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5" name="Platshållare för bild 6">
            <a:extLst>
              <a:ext uri="{FF2B5EF4-FFF2-40B4-BE49-F238E27FC236}">
                <a16:creationId xmlns:a16="http://schemas.microsoft.com/office/drawing/2014/main" id="{68D9E14D-093E-4000-4926-A0F16DDC8C6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84759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6" name="Platshållare för bild 6">
            <a:extLst>
              <a:ext uri="{FF2B5EF4-FFF2-40B4-BE49-F238E27FC236}">
                <a16:creationId xmlns:a16="http://schemas.microsoft.com/office/drawing/2014/main" id="{EEB69BA5-58C5-1BE7-5B6D-353FD8F76FE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182226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7" name="Platshållare för text 8">
            <a:extLst>
              <a:ext uri="{FF2B5EF4-FFF2-40B4-BE49-F238E27FC236}">
                <a16:creationId xmlns:a16="http://schemas.microsoft.com/office/drawing/2014/main" id="{980EF248-2D30-BBAF-CB51-354FDDA222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173061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8" name="Platshållare för text 8">
            <a:extLst>
              <a:ext uri="{FF2B5EF4-FFF2-40B4-BE49-F238E27FC236}">
                <a16:creationId xmlns:a16="http://schemas.microsoft.com/office/drawing/2014/main" id="{A35629B5-42E0-6E08-C676-8E553166846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07922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9" name="Platshållare för text 8">
            <a:extLst>
              <a:ext uri="{FF2B5EF4-FFF2-40B4-BE49-F238E27FC236}">
                <a16:creationId xmlns:a16="http://schemas.microsoft.com/office/drawing/2014/main" id="{48911B15-5C87-F27E-6202-9A4C808AB6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842783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0" name="Platshållare för text 8">
            <a:extLst>
              <a:ext uri="{FF2B5EF4-FFF2-40B4-BE49-F238E27FC236}">
                <a16:creationId xmlns:a16="http://schemas.microsoft.com/office/drawing/2014/main" id="{6523FF90-B346-B215-7E07-5EAD34AE858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7644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1" name="Platshållare för text 8">
            <a:extLst>
              <a:ext uri="{FF2B5EF4-FFF2-40B4-BE49-F238E27FC236}">
                <a16:creationId xmlns:a16="http://schemas.microsoft.com/office/drawing/2014/main" id="{A2173BD9-995C-9BB3-3E5B-53E1E7E926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12505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2" name="Platshållare för text 8">
            <a:extLst>
              <a:ext uri="{FF2B5EF4-FFF2-40B4-BE49-F238E27FC236}">
                <a16:creationId xmlns:a16="http://schemas.microsoft.com/office/drawing/2014/main" id="{FF77D1D7-BE9B-FAEE-26D8-193C24AEEEC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4736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3" name="Platshållare för text 8">
            <a:extLst>
              <a:ext uri="{FF2B5EF4-FFF2-40B4-BE49-F238E27FC236}">
                <a16:creationId xmlns:a16="http://schemas.microsoft.com/office/drawing/2014/main" id="{982FC7B8-7C96-FE20-101D-958EFB07150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8222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81035984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bild 8">
            <a:extLst>
              <a:ext uri="{FF2B5EF4-FFF2-40B4-BE49-F238E27FC236}">
                <a16:creationId xmlns:a16="http://schemas.microsoft.com/office/drawing/2014/main" id="{7944C8A2-3E33-B021-611F-A3DD4E355E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DA38DFC8-4FA7-7A97-0BD7-51FEA556E1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6987" y="904875"/>
            <a:ext cx="5677463" cy="49006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93820" y="904875"/>
            <a:ext cx="4328160" cy="49006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DD7E20D4-490E-9B23-F325-0E625AB6CBD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29140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E5A5430D-617D-B455-262A-06649055720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8B60CD3-57B3-DA07-6036-2587B239D3EA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85212585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40200527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9977408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D907FCD-A527-0575-B311-28C7FEDCC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0602EF2-20B6-9149-8905-82041C41C2E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 dirty="0"/>
          </a:p>
          <a:p>
            <a:pPr algn="l"/>
            <a:r>
              <a:rPr lang="sv-SE" sz="1600" dirty="0"/>
              <a:t>Vid val av citattecken gå upp till fontstorlek 200 och lägg centrerad.</a:t>
            </a:r>
          </a:p>
          <a:p>
            <a:pPr algn="l"/>
            <a:endParaRPr lang="sv-SE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/>
              <a:t>Vid citat: Citerad person nedanför i den mindre textrutan</a:t>
            </a:r>
          </a:p>
          <a:p>
            <a:pPr algn="l"/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187635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3173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gul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DF6B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47852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33001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Bild 5">
            <a:extLst>
              <a:ext uri="{FF2B5EF4-FFF2-40B4-BE49-F238E27FC236}">
                <a16:creationId xmlns:a16="http://schemas.microsoft.com/office/drawing/2014/main" id="{7B94F3F8-CA1A-5278-491A-20D16928A2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724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-3120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0F9CF573-A547-B7C1-8BE6-3D1B7DFD83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7A2DFAE-4EF6-703D-E5A1-89085E2BFD9E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9166677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18095456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916625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15AC4E4-942F-685D-C185-A90EA64B0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0D7C7B9-24BE-B006-FBF9-879204425934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 dirty="0"/>
          </a:p>
          <a:p>
            <a:pPr algn="l"/>
            <a:r>
              <a:rPr lang="sv-SE" sz="1600" dirty="0"/>
              <a:t>Vid val av citattecken gå upp till fontstorlek 200 och lägg centrerad.</a:t>
            </a:r>
          </a:p>
          <a:p>
            <a:pPr algn="l"/>
            <a:endParaRPr lang="sv-SE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/>
              <a:t>Vid citat: Citerad person nedanför i den mindre textrutan</a:t>
            </a:r>
          </a:p>
          <a:p>
            <a:pPr algn="l"/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155716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ros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FD5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16205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12965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356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4F6F1BA-E2CE-1697-347E-2D89B6A0A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32215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rosa ver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E05B1F34-8D33-9D23-F8CC-ACFC2DD09239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08096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4" y="6356350"/>
            <a:ext cx="258365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FD4F3416-B0ED-3706-3F16-6DCE2B9EA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21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FC2E8098-FE03-25B3-D703-AD1076A097D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5746C5CD-4415-59B3-EB35-885843EF94E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7958658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594243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77C5ECA8-D09A-D4A0-5CEE-A6E23ED860E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799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AEB936F0-D54F-1CDD-6DBC-E6BFB526072B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3054A72D-FC6F-8AFD-AC0F-E7CD67843196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4636483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78F7E661-2F72-B632-353C-1519F2665978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1"/>
            <a:ext cx="3196473" cy="6858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AB763A90-E76F-34F5-ED33-A413E29F997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508946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39070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1CA92B86-793C-5ED5-732E-74948CFD444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-1" y="1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671A3A55-7F64-9DFF-23A1-DC550A727615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3970923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4403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 2">
            <a:extLst>
              <a:ext uri="{FF2B5EF4-FFF2-40B4-BE49-F238E27FC236}">
                <a16:creationId xmlns:a16="http://schemas.microsoft.com/office/drawing/2014/main" id="{BA24694D-106D-F3E7-90D3-A179ABA8A4D3}"/>
              </a:ext>
            </a:extLst>
          </p:cNvPr>
          <p:cNvGrpSpPr/>
          <p:nvPr userDrawn="1"/>
        </p:nvGrpSpPr>
        <p:grpSpPr>
          <a:xfrm>
            <a:off x="3292429" y="1286615"/>
            <a:ext cx="5842046" cy="4284770"/>
            <a:chOff x="5085834" y="2419402"/>
            <a:chExt cx="1710845" cy="1254796"/>
          </a:xfrm>
        </p:grpSpPr>
        <p:sp>
          <p:nvSpPr>
            <p:cNvPr id="5" name="Sexhörning 4">
              <a:extLst>
                <a:ext uri="{FF2B5EF4-FFF2-40B4-BE49-F238E27FC236}">
                  <a16:creationId xmlns:a16="http://schemas.microsoft.com/office/drawing/2014/main" id="{F6052BDB-E3F0-541D-BC64-27C2AC08A72A}"/>
                </a:ext>
              </a:extLst>
            </p:cNvPr>
            <p:cNvSpPr/>
            <p:nvPr/>
          </p:nvSpPr>
          <p:spPr>
            <a:xfrm rot="5400000">
              <a:off x="5010171" y="2495065"/>
              <a:ext cx="1254796" cy="1103470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Sexhörning 7">
              <a:extLst>
                <a:ext uri="{FF2B5EF4-FFF2-40B4-BE49-F238E27FC236}">
                  <a16:creationId xmlns:a16="http://schemas.microsoft.com/office/drawing/2014/main" id="{762EFCB3-B939-203E-C05C-223376C8A892}"/>
                </a:ext>
              </a:extLst>
            </p:cNvPr>
            <p:cNvSpPr/>
            <p:nvPr/>
          </p:nvSpPr>
          <p:spPr>
            <a:xfrm rot="5400000">
              <a:off x="5617546" y="2495065"/>
              <a:ext cx="1254796" cy="1103470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7ED6D1DD-7223-43C7-1AE8-B7C670481996}"/>
                </a:ext>
              </a:extLst>
            </p:cNvPr>
            <p:cNvSpPr/>
            <p:nvPr/>
          </p:nvSpPr>
          <p:spPr>
            <a:xfrm rot="5400000">
              <a:off x="5464104" y="2628483"/>
              <a:ext cx="950713" cy="836057"/>
            </a:xfrm>
            <a:prstGeom prst="hex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65CA5509-FF9B-D8E8-4AB8-DFECC285CF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1185" y="2702079"/>
            <a:ext cx="2164534" cy="1395938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3D0A7A89-DB05-E582-5E77-28F68F3F183D}"/>
              </a:ext>
            </a:extLst>
          </p:cNvPr>
          <p:cNvSpPr txBox="1"/>
          <p:nvPr userDrawn="1"/>
        </p:nvSpPr>
        <p:spPr>
          <a:xfrm>
            <a:off x="839788" y="6419676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accent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med kontakt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 2">
            <a:extLst>
              <a:ext uri="{FF2B5EF4-FFF2-40B4-BE49-F238E27FC236}">
                <a16:creationId xmlns:a16="http://schemas.microsoft.com/office/drawing/2014/main" id="{BA24694D-106D-F3E7-90D3-A179ABA8A4D3}"/>
              </a:ext>
            </a:extLst>
          </p:cNvPr>
          <p:cNvGrpSpPr/>
          <p:nvPr userDrawn="1"/>
        </p:nvGrpSpPr>
        <p:grpSpPr>
          <a:xfrm>
            <a:off x="3292429" y="1286615"/>
            <a:ext cx="5842046" cy="4284770"/>
            <a:chOff x="5085834" y="2419402"/>
            <a:chExt cx="1710845" cy="1254796"/>
          </a:xfrm>
        </p:grpSpPr>
        <p:sp>
          <p:nvSpPr>
            <p:cNvPr id="5" name="Sexhörning 4">
              <a:extLst>
                <a:ext uri="{FF2B5EF4-FFF2-40B4-BE49-F238E27FC236}">
                  <a16:creationId xmlns:a16="http://schemas.microsoft.com/office/drawing/2014/main" id="{F6052BDB-E3F0-541D-BC64-27C2AC08A72A}"/>
                </a:ext>
              </a:extLst>
            </p:cNvPr>
            <p:cNvSpPr/>
            <p:nvPr/>
          </p:nvSpPr>
          <p:spPr>
            <a:xfrm rot="5400000">
              <a:off x="5010171" y="2495065"/>
              <a:ext cx="1254796" cy="1103470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Sexhörning 7">
              <a:extLst>
                <a:ext uri="{FF2B5EF4-FFF2-40B4-BE49-F238E27FC236}">
                  <a16:creationId xmlns:a16="http://schemas.microsoft.com/office/drawing/2014/main" id="{762EFCB3-B939-203E-C05C-223376C8A892}"/>
                </a:ext>
              </a:extLst>
            </p:cNvPr>
            <p:cNvSpPr/>
            <p:nvPr/>
          </p:nvSpPr>
          <p:spPr>
            <a:xfrm rot="5400000">
              <a:off x="5617546" y="2495065"/>
              <a:ext cx="1254796" cy="1103470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7ED6D1DD-7223-43C7-1AE8-B7C670481996}"/>
                </a:ext>
              </a:extLst>
            </p:cNvPr>
            <p:cNvSpPr/>
            <p:nvPr/>
          </p:nvSpPr>
          <p:spPr>
            <a:xfrm rot="5400000">
              <a:off x="5464104" y="2628483"/>
              <a:ext cx="950713" cy="836057"/>
            </a:xfrm>
            <a:prstGeom prst="hex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65CA5509-FF9B-D8E8-4AB8-DFECC285CF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1185" y="2702079"/>
            <a:ext cx="2164534" cy="1395938"/>
          </a:xfrm>
          <a:prstGeom prst="rect">
            <a:avLst/>
          </a:prstGeom>
        </p:spPr>
      </p:pic>
      <p:sp>
        <p:nvSpPr>
          <p:cNvPr id="4" name="Underrubrik 2">
            <a:extLst>
              <a:ext uri="{FF2B5EF4-FFF2-40B4-BE49-F238E27FC236}">
                <a16:creationId xmlns:a16="http://schemas.microsoft.com/office/drawing/2014/main" id="{7B8E925F-A8B8-C9CB-F631-753209A448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299824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140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33EA92C8-F617-9CC4-F10D-64208A098DED}"/>
              </a:ext>
            </a:extLst>
          </p:cNvPr>
          <p:cNvSpPr txBox="1"/>
          <p:nvPr userDrawn="1"/>
        </p:nvSpPr>
        <p:spPr>
          <a:xfrm>
            <a:off x="839788" y="6419676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accent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653666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sv-SE"/>
              <a:t>Klicka här för att ändra format på bakgrundstexten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E096332-3937-8A3D-3A06-DA6F74457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9089F245-CC03-7935-169D-D60EEF4A4A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359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4102294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63837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7D2DAA0-E013-6E46-548B-D6A66D9A23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553F9B9-CFFD-40C4-8F89-6162B2B7E7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32158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0AB25016-C0D5-110B-22E4-178A0B271B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FD389228-4B2D-2434-1FC2-9CDC92BD9C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C56B5741-53A4-5BE1-291F-A46DFFDA23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399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11037AE2-B7C3-FBDB-FC6C-B9F5CB2CE0C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766750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24B4566D-E21C-891A-64DA-3C7E178221D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86812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14" name="Frihandsfigur: Form 13">
            <a:extLst>
              <a:ext uri="{FF2B5EF4-FFF2-40B4-BE49-F238E27FC236}">
                <a16:creationId xmlns:a16="http://schemas.microsoft.com/office/drawing/2014/main" id="{C935C318-8D42-C5D7-811E-9D2E03E8D2B7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7208BD3-AEFE-33EC-7B9E-5565F2BDC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9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13" grpId="0" animBg="1"/>
        </p:bldLst>
      </p:timing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D3672FD6-8C71-7DA2-AF72-582538ACA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815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397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A2C4657C-2C05-5034-FAA5-E5D47AABAEF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448009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327804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A3A4FB87-8E00-0259-B62D-D583D2ABFBC8}"/>
              </a:ext>
            </a:extLst>
          </p:cNvPr>
          <p:cNvSpPr/>
          <p:nvPr userDrawn="1"/>
        </p:nvSpPr>
        <p:spPr>
          <a:xfrm>
            <a:off x="10089357" y="-4619"/>
            <a:ext cx="2115803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15803"/>
              <a:gd name="connsiteY0" fmla="*/ 2309 h 6864206"/>
              <a:gd name="connsiteX1" fmla="*/ 1670844 w 2115803"/>
              <a:gd name="connsiteY1" fmla="*/ 4817919 h 6864206"/>
              <a:gd name="connsiteX2" fmla="*/ 0 w 2115803"/>
              <a:gd name="connsiteY2" fmla="*/ 6864206 h 6864206"/>
              <a:gd name="connsiteX3" fmla="*/ 2102644 w 2115803"/>
              <a:gd name="connsiteY3" fmla="*/ 6862619 h 6864206"/>
              <a:gd name="connsiteX4" fmla="*/ 2115594 w 2115803"/>
              <a:gd name="connsiteY4" fmla="*/ 0 h 6864206"/>
              <a:gd name="connsiteX5" fmla="*/ 84499 w 2115803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803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17903" y="2287540"/>
                  <a:pt x="2115594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1D4F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16628" y="6356350"/>
            <a:ext cx="19593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D68FE4D-1CCA-D7FF-1EFB-82B52E339F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748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519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15803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15803"/>
              <a:gd name="connsiteY0" fmla="*/ 2309 h 6864206"/>
              <a:gd name="connsiteX1" fmla="*/ 1670844 w 2115803"/>
              <a:gd name="connsiteY1" fmla="*/ 4817919 h 6864206"/>
              <a:gd name="connsiteX2" fmla="*/ 0 w 2115803"/>
              <a:gd name="connsiteY2" fmla="*/ 6864206 h 6864206"/>
              <a:gd name="connsiteX3" fmla="*/ 2102644 w 2115803"/>
              <a:gd name="connsiteY3" fmla="*/ 6862619 h 6864206"/>
              <a:gd name="connsiteX4" fmla="*/ 2115594 w 2115803"/>
              <a:gd name="connsiteY4" fmla="*/ 0 h 6864206"/>
              <a:gd name="connsiteX5" fmla="*/ 84499 w 2115803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803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17903" y="2287540"/>
                  <a:pt x="2115594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817792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59348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07EF397-A8C5-B0F2-ACE9-FE58761B2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6998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86778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545C77E1-3BB4-FB11-9CAA-4139086248A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6F071939-403C-79B7-C872-1999D613470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8070613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0132520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AD69F1B6-076F-ED53-592F-7CADDEAC0606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939887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92B38912-8154-727B-00BA-D8D951BD9BF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CF9F72F-52D7-2BEE-0338-8BDD6FD0899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8333040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2DAACBFD-9C7A-14AA-3731-EE42F4064F5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7999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50401E1D-A905-04B6-FCB8-A2369ED0CCC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499755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ACB0E7D2-3F03-BC2C-BC8D-98F39BF4C01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-1" y="0"/>
            <a:ext cx="3196473" cy="694671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6EBD4CBF-98F8-184B-97B3-98825ECB3CCF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4204480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9BE91A91-8CED-864B-8916-63C9809D6AD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426743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605FABC9-8A40-0CC7-6DDE-7B10EB33B0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061231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0092D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1B4D7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48E93867-9A2B-7BD3-CA32-F8447407E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B9C3BACF-B269-9D28-334B-204793130C2C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 dirty="0"/>
          </a:p>
          <a:p>
            <a:pPr algn="l"/>
            <a:r>
              <a:rPr lang="sv-SE" sz="1600" dirty="0"/>
              <a:t>Vid val av citattecken gå upp till fontstorlek 200 och lägg centrerad.</a:t>
            </a:r>
          </a:p>
          <a:p>
            <a:pPr algn="l"/>
            <a:endParaRPr lang="sv-SE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/>
              <a:t>Vid citat: Citerad person nedanför i den mindre textrutan</a:t>
            </a:r>
          </a:p>
          <a:p>
            <a:pPr algn="l"/>
            <a:endParaRPr lang="sv-SE" sz="1600" dirty="0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B3F80318-DC3E-35BF-9B0C-21137D84DF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75" y="4586288"/>
            <a:ext cx="6556375" cy="558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Skriv namn på citerad person eller ta bort textrutan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493572EE-6FD7-E75E-0986-BDB143EAE0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67160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27958306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842601-7FEE-AC64-D372-9D58390B5B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12E2823-0A00-0672-BB42-E7BC3B9541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7841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77A9E7CF-D5A4-018D-8A48-C5A4F38047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A1EE32D7-1C8E-9FF6-75E3-16F13F10E9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C69D9D88-9411-A180-83CC-362E3B7AC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94245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DAA9C6B5-538C-92E0-64E9-AED80328F14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981396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846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6C5F64C8-4455-70B2-9BB0-D5EF376113E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603455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1817C005-084A-4B00-F3AB-0ACBACB442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EBDEB36-C0E0-C60E-E6AC-80484EE12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F2FB0E06-2469-2C6C-7C10-FD56C46CB4DB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09C6CBE0-1FB1-3CF3-7411-3641433C9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63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4027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306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11447CD8-B60C-EB30-F7B6-3BA076B922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27A8C22E-69CC-E6A6-E74C-DED6C426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11" name="Frihandsfigur: Form 10">
            <a:extLst>
              <a:ext uri="{FF2B5EF4-FFF2-40B4-BE49-F238E27FC236}">
                <a16:creationId xmlns:a16="http://schemas.microsoft.com/office/drawing/2014/main" id="{A64C02C6-89EE-60D4-4C52-83CD2F8C0BAB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803640" y="0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rgbClr val="1D4F78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A339C130-53C7-1B4D-308F-F9B26209D0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18014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30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7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8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3" grpId="0" animBg="1"/>
        </p:bldLst>
      </p:timing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A3A4FB87-8E00-0259-B62D-D583D2ABFBC8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29479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347683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723783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A3A4FB87-8E00-0259-B62D-D583D2ABFBC8}"/>
              </a:ext>
            </a:extLst>
          </p:cNvPr>
          <p:cNvSpPr/>
          <p:nvPr userDrawn="1"/>
        </p:nvSpPr>
        <p:spPr>
          <a:xfrm>
            <a:off x="10089357" y="-4619"/>
            <a:ext cx="211498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2806"/>
              <a:gd name="connsiteY0" fmla="*/ 0 h 6861897"/>
              <a:gd name="connsiteX1" fmla="*/ 1670844 w 2102806"/>
              <a:gd name="connsiteY1" fmla="*/ 4815610 h 6861897"/>
              <a:gd name="connsiteX2" fmla="*/ 0 w 2102806"/>
              <a:gd name="connsiteY2" fmla="*/ 6861897 h 6861897"/>
              <a:gd name="connsiteX3" fmla="*/ 2102644 w 2102806"/>
              <a:gd name="connsiteY3" fmla="*/ 6860310 h 6861897"/>
              <a:gd name="connsiteX4" fmla="*/ 2102066 w 2102806"/>
              <a:gd name="connsiteY4" fmla="*/ 4041 h 6861897"/>
              <a:gd name="connsiteX5" fmla="*/ 84499 w 2102806"/>
              <a:gd name="connsiteY5" fmla="*/ 0 h 6861897"/>
              <a:gd name="connsiteX0" fmla="*/ 84499 w 2102806"/>
              <a:gd name="connsiteY0" fmla="*/ 0 h 6861897"/>
              <a:gd name="connsiteX1" fmla="*/ 1670844 w 2102806"/>
              <a:gd name="connsiteY1" fmla="*/ 4815610 h 6861897"/>
              <a:gd name="connsiteX2" fmla="*/ 0 w 2102806"/>
              <a:gd name="connsiteY2" fmla="*/ 6861897 h 6861897"/>
              <a:gd name="connsiteX3" fmla="*/ 2102644 w 2102806"/>
              <a:gd name="connsiteY3" fmla="*/ 6860310 h 6861897"/>
              <a:gd name="connsiteX4" fmla="*/ 2102066 w 2102806"/>
              <a:gd name="connsiteY4" fmla="*/ 4041 h 6861897"/>
              <a:gd name="connsiteX5" fmla="*/ 84499 w 2102806"/>
              <a:gd name="connsiteY5" fmla="*/ 0 h 6861897"/>
              <a:gd name="connsiteX0" fmla="*/ 84499 w 2114985"/>
              <a:gd name="connsiteY0" fmla="*/ 2309 h 6864206"/>
              <a:gd name="connsiteX1" fmla="*/ 1670844 w 2114985"/>
              <a:gd name="connsiteY1" fmla="*/ 4817919 h 6864206"/>
              <a:gd name="connsiteX2" fmla="*/ 0 w 2114985"/>
              <a:gd name="connsiteY2" fmla="*/ 6864206 h 6864206"/>
              <a:gd name="connsiteX3" fmla="*/ 2102644 w 2114985"/>
              <a:gd name="connsiteY3" fmla="*/ 6862619 h 6864206"/>
              <a:gd name="connsiteX4" fmla="*/ 2114766 w 2114985"/>
              <a:gd name="connsiteY4" fmla="*/ 0 h 6864206"/>
              <a:gd name="connsiteX5" fmla="*/ 84499 w 211498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498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17075" y="2287540"/>
                  <a:pt x="211476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786C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1653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1ABDEEAE-1740-B216-A875-D10E81EC64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9678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C3BE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3897"/>
            <a:ext cx="2109290" cy="6861897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9290"/>
              <a:gd name="connsiteY0" fmla="*/ 0 h 6861897"/>
              <a:gd name="connsiteX1" fmla="*/ 1670844 w 2109290"/>
              <a:gd name="connsiteY1" fmla="*/ 4815610 h 6861897"/>
              <a:gd name="connsiteX2" fmla="*/ 0 w 2109290"/>
              <a:gd name="connsiteY2" fmla="*/ 6861897 h 6861897"/>
              <a:gd name="connsiteX3" fmla="*/ 2102644 w 2109290"/>
              <a:gd name="connsiteY3" fmla="*/ 6860310 h 6861897"/>
              <a:gd name="connsiteX4" fmla="*/ 2108968 w 2109290"/>
              <a:gd name="connsiteY4" fmla="*/ 4317 h 6861897"/>
              <a:gd name="connsiteX5" fmla="*/ 84499 w 2109290"/>
              <a:gd name="connsiteY5" fmla="*/ 0 h 6861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9290" h="6861897">
                <a:moveTo>
                  <a:pt x="84499" y="0"/>
                </a:moveTo>
                <a:lnTo>
                  <a:pt x="1670844" y="4815610"/>
                </a:lnTo>
                <a:lnTo>
                  <a:pt x="0" y="6861897"/>
                </a:lnTo>
                <a:lnTo>
                  <a:pt x="2102644" y="6860310"/>
                </a:lnTo>
                <a:cubicBezTo>
                  <a:pt x="2100335" y="4572770"/>
                  <a:pt x="2111277" y="2291857"/>
                  <a:pt x="2108968" y="4317"/>
                </a:cubicBezTo>
                <a:lnTo>
                  <a:pt x="844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950117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8950117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5712" y="636397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B7E06283-2C29-907F-B3A6-B1EC84F751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0841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66300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rgbClr val="E3E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rgbClr val="BBB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2079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84C8AFF2-7CB6-9A59-73FE-5ABB0F1A9FA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26D824F-E069-895E-2678-373FFCE55815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8895704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8864134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A30E5F86-8E51-B078-7496-C649C918B6B5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E8AE2AFD-1A55-6019-A68A-438D6B64DEB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EC39AA6-C808-C37A-9523-7167956A664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8116364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9953A50-2857-58A4-6608-E79B4F1563D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736B8C58-2EDC-7B04-6356-D8E4783AD54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870848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39070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E748D465-4FDB-AC08-8A3E-981DC5E2A4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0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66D917C9-1274-AD8A-8208-FD8F6C46B22B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169771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1982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C26BBDAE-E3A4-7608-2D58-DA99A79CAE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164474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786B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 dirty="0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D209914-C4B9-96C6-9AF6-2EEDFDE46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47CB5206-A561-7DAF-CEEA-E99E05D8AFBA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 dirty="0"/>
          </a:p>
          <a:p>
            <a:pPr algn="l"/>
            <a:r>
              <a:rPr lang="sv-SE" sz="1600" dirty="0"/>
              <a:t>Vid val av citattecken gå upp till fontstorlek 200 och lägg centrerad.</a:t>
            </a:r>
          </a:p>
          <a:p>
            <a:pPr algn="l"/>
            <a:endParaRPr lang="sv-SE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/>
              <a:t>Vid citat: Citerad person nedanför i den mindre textrutan</a:t>
            </a:r>
          </a:p>
          <a:p>
            <a:pPr algn="l"/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3238895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12451532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msida 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36748" y="-4763"/>
            <a:ext cx="12228748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  <a:gd name="connsiteX0" fmla="*/ 17698 w 12228748"/>
              <a:gd name="connsiteY0" fmla="*/ 0 h 6862763"/>
              <a:gd name="connsiteX1" fmla="*/ 12228748 w 12228748"/>
              <a:gd name="connsiteY1" fmla="*/ 0 h 6862763"/>
              <a:gd name="connsiteX2" fmla="*/ 12228748 w 12228748"/>
              <a:gd name="connsiteY2" fmla="*/ 6862763 h 6862763"/>
              <a:gd name="connsiteX3" fmla="*/ 2118786 w 12228748"/>
              <a:gd name="connsiteY3" fmla="*/ 6862763 h 6862763"/>
              <a:gd name="connsiteX4" fmla="*/ 449238 w 12228748"/>
              <a:gd name="connsiteY4" fmla="*/ 4818063 h 6862763"/>
              <a:gd name="connsiteX5" fmla="*/ 2035583 w 12228748"/>
              <a:gd name="connsiteY5" fmla="*/ 2453 h 6862763"/>
              <a:gd name="connsiteX6" fmla="*/ 24366 w 12228748"/>
              <a:gd name="connsiteY6" fmla="*/ 144 h 6862763"/>
              <a:gd name="connsiteX7" fmla="*/ 0 w 12228748"/>
              <a:gd name="connsiteY7" fmla="*/ 6852967 h 6862763"/>
              <a:gd name="connsiteX8" fmla="*/ 17698 w 12228748"/>
              <a:gd name="connsiteY8" fmla="*/ 0 h 6862763"/>
              <a:gd name="connsiteX0" fmla="*/ 11798 w 12222848"/>
              <a:gd name="connsiteY0" fmla="*/ 0 h 6862763"/>
              <a:gd name="connsiteX1" fmla="*/ 12222848 w 12222848"/>
              <a:gd name="connsiteY1" fmla="*/ 0 h 6862763"/>
              <a:gd name="connsiteX2" fmla="*/ 12222848 w 12222848"/>
              <a:gd name="connsiteY2" fmla="*/ 6862763 h 6862763"/>
              <a:gd name="connsiteX3" fmla="*/ 2112886 w 12222848"/>
              <a:gd name="connsiteY3" fmla="*/ 6862763 h 6862763"/>
              <a:gd name="connsiteX4" fmla="*/ 443338 w 12222848"/>
              <a:gd name="connsiteY4" fmla="*/ 4818063 h 6862763"/>
              <a:gd name="connsiteX5" fmla="*/ 2029683 w 12222848"/>
              <a:gd name="connsiteY5" fmla="*/ 2453 h 6862763"/>
              <a:gd name="connsiteX6" fmla="*/ 18466 w 12222848"/>
              <a:gd name="connsiteY6" fmla="*/ 144 h 6862763"/>
              <a:gd name="connsiteX7" fmla="*/ 0 w 12222848"/>
              <a:gd name="connsiteY7" fmla="*/ 6811672 h 6862763"/>
              <a:gd name="connsiteX8" fmla="*/ 11798 w 12222848"/>
              <a:gd name="connsiteY8" fmla="*/ 0 h 6862763"/>
              <a:gd name="connsiteX0" fmla="*/ 23597 w 12234647"/>
              <a:gd name="connsiteY0" fmla="*/ 0 h 6862763"/>
              <a:gd name="connsiteX1" fmla="*/ 12234647 w 12234647"/>
              <a:gd name="connsiteY1" fmla="*/ 0 h 6862763"/>
              <a:gd name="connsiteX2" fmla="*/ 12234647 w 12234647"/>
              <a:gd name="connsiteY2" fmla="*/ 6862763 h 6862763"/>
              <a:gd name="connsiteX3" fmla="*/ 2124685 w 12234647"/>
              <a:gd name="connsiteY3" fmla="*/ 6862763 h 6862763"/>
              <a:gd name="connsiteX4" fmla="*/ 455137 w 12234647"/>
              <a:gd name="connsiteY4" fmla="*/ 4818063 h 6862763"/>
              <a:gd name="connsiteX5" fmla="*/ 2041482 w 12234647"/>
              <a:gd name="connsiteY5" fmla="*/ 2453 h 6862763"/>
              <a:gd name="connsiteX6" fmla="*/ 30265 w 12234647"/>
              <a:gd name="connsiteY6" fmla="*/ 144 h 6862763"/>
              <a:gd name="connsiteX7" fmla="*/ 0 w 12234647"/>
              <a:gd name="connsiteY7" fmla="*/ 6811672 h 6862763"/>
              <a:gd name="connsiteX8" fmla="*/ 23597 w 12234647"/>
              <a:gd name="connsiteY8" fmla="*/ 0 h 6862763"/>
              <a:gd name="connsiteX0" fmla="*/ 17698 w 12228748"/>
              <a:gd name="connsiteY0" fmla="*/ 0 h 6862763"/>
              <a:gd name="connsiteX1" fmla="*/ 12228748 w 12228748"/>
              <a:gd name="connsiteY1" fmla="*/ 0 h 6862763"/>
              <a:gd name="connsiteX2" fmla="*/ 12228748 w 12228748"/>
              <a:gd name="connsiteY2" fmla="*/ 6862763 h 6862763"/>
              <a:gd name="connsiteX3" fmla="*/ 2118786 w 12228748"/>
              <a:gd name="connsiteY3" fmla="*/ 6862763 h 6862763"/>
              <a:gd name="connsiteX4" fmla="*/ 449238 w 12228748"/>
              <a:gd name="connsiteY4" fmla="*/ 4818063 h 6862763"/>
              <a:gd name="connsiteX5" fmla="*/ 2035583 w 12228748"/>
              <a:gd name="connsiteY5" fmla="*/ 2453 h 6862763"/>
              <a:gd name="connsiteX6" fmla="*/ 24366 w 12228748"/>
              <a:gd name="connsiteY6" fmla="*/ 144 h 6862763"/>
              <a:gd name="connsiteX7" fmla="*/ 0 w 12228748"/>
              <a:gd name="connsiteY7" fmla="*/ 6852967 h 6862763"/>
              <a:gd name="connsiteX8" fmla="*/ 17698 w 12228748"/>
              <a:gd name="connsiteY8" fmla="*/ 0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8748" h="6862763">
                <a:moveTo>
                  <a:pt x="17698" y="0"/>
                </a:moveTo>
                <a:lnTo>
                  <a:pt x="12228748" y="0"/>
                </a:lnTo>
                <a:lnTo>
                  <a:pt x="12228748" y="6862763"/>
                </a:lnTo>
                <a:lnTo>
                  <a:pt x="2118786" y="6862763"/>
                </a:lnTo>
                <a:lnTo>
                  <a:pt x="449238" y="4818063"/>
                </a:lnTo>
                <a:lnTo>
                  <a:pt x="2035583" y="2453"/>
                </a:lnTo>
                <a:lnTo>
                  <a:pt x="24366" y="144"/>
                </a:lnTo>
                <a:cubicBezTo>
                  <a:pt x="18211" y="2270653"/>
                  <a:pt x="6155" y="4582458"/>
                  <a:pt x="0" y="6852967"/>
                </a:cubicBezTo>
                <a:cubicBezTo>
                  <a:pt x="0" y="4651236"/>
                  <a:pt x="17698" y="2201731"/>
                  <a:pt x="17698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0CB93E8F-B451-396A-2D80-B9171E7474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ts val="42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Underrubrik 2">
            <a:extLst>
              <a:ext uri="{FF2B5EF4-FFF2-40B4-BE49-F238E27FC236}">
                <a16:creationId xmlns:a16="http://schemas.microsoft.com/office/drawing/2014/main" id="{8EDE2934-EB36-9F0B-C383-78FA771D24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28232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</p:spTree>
    <p:extLst>
      <p:ext uri="{BB962C8B-B14F-4D97-AF65-F5344CB8AC3E}">
        <p14:creationId xmlns:p14="http://schemas.microsoft.com/office/powerpoint/2010/main" val="7608263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0CB93E8F-B451-396A-2D80-B9171E7474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Underrubrik 2">
            <a:extLst>
              <a:ext uri="{FF2B5EF4-FFF2-40B4-BE49-F238E27FC236}">
                <a16:creationId xmlns:a16="http://schemas.microsoft.com/office/drawing/2014/main" id="{8EDE2934-EB36-9F0B-C383-78FA771D24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</p:spTree>
    <p:extLst>
      <p:ext uri="{BB962C8B-B14F-4D97-AF65-F5344CB8AC3E}">
        <p14:creationId xmlns:p14="http://schemas.microsoft.com/office/powerpoint/2010/main" val="23684101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3387863-FD6F-3FF0-6C8F-E93039481F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629B0703-F797-06BD-531F-1C8039FED2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A06BB27F-D9B2-0FA2-AA29-CE273FBBAD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3954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7D5CECEC-E587-8383-3192-3DF9044D6AD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6942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543996F4-113E-3956-49B6-829DEDDBE41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826381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0CEE0424-5C1D-32AF-4FF9-7515EB22B0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717C8797-CD43-D576-28B1-D482391AA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028CF2F7-8BCA-9741-9FD8-E6F1CA6A21E7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F32F0300-26C2-1EBB-7ACB-389B51688F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6202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35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93775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57750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18200" y="1825625"/>
            <a:ext cx="4857750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571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94752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E20C981-96AF-5135-6DA5-129EC05289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9129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252744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161E6CC6-F1B7-3564-82BC-A0FF0D1AEDC2}"/>
              </a:ext>
            </a:extLst>
          </p:cNvPr>
          <p:cNvSpPr/>
          <p:nvPr userDrawn="1"/>
        </p:nvSpPr>
        <p:spPr>
          <a:xfrm>
            <a:off x="10089357" y="-10969"/>
            <a:ext cx="2114985" cy="687055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14985"/>
              <a:gd name="connsiteY0" fmla="*/ 8659 h 6870556"/>
              <a:gd name="connsiteX1" fmla="*/ 1670844 w 2114985"/>
              <a:gd name="connsiteY1" fmla="*/ 4824269 h 6870556"/>
              <a:gd name="connsiteX2" fmla="*/ 0 w 2114985"/>
              <a:gd name="connsiteY2" fmla="*/ 6870556 h 6870556"/>
              <a:gd name="connsiteX3" fmla="*/ 2102644 w 2114985"/>
              <a:gd name="connsiteY3" fmla="*/ 6868969 h 6870556"/>
              <a:gd name="connsiteX4" fmla="*/ 2114766 w 2114985"/>
              <a:gd name="connsiteY4" fmla="*/ 0 h 6870556"/>
              <a:gd name="connsiteX5" fmla="*/ 84499 w 2114985"/>
              <a:gd name="connsiteY5" fmla="*/ 8659 h 6870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4985" h="6870556">
                <a:moveTo>
                  <a:pt x="84499" y="8659"/>
                </a:moveTo>
                <a:lnTo>
                  <a:pt x="1670844" y="4824269"/>
                </a:lnTo>
                <a:lnTo>
                  <a:pt x="0" y="6870556"/>
                </a:lnTo>
                <a:lnTo>
                  <a:pt x="2102644" y="6868969"/>
                </a:lnTo>
                <a:cubicBezTo>
                  <a:pt x="2100335" y="4581429"/>
                  <a:pt x="2117075" y="2287540"/>
                  <a:pt x="2114766" y="0"/>
                </a:cubicBezTo>
                <a:lnTo>
                  <a:pt x="84499" y="8659"/>
                </a:lnTo>
                <a:close/>
              </a:path>
            </a:pathLst>
          </a:custGeom>
          <a:solidFill>
            <a:srgbClr val="66C1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63000" y="6356350"/>
            <a:ext cx="2012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528B1A43-2816-9378-B9F9-B9199E5FC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D9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3897"/>
            <a:ext cx="2108753" cy="6861897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2644"/>
              <a:gd name="connsiteY0" fmla="*/ 0 h 6861897"/>
              <a:gd name="connsiteX1" fmla="*/ 1670844 w 2102644"/>
              <a:gd name="connsiteY1" fmla="*/ 4815610 h 6861897"/>
              <a:gd name="connsiteX2" fmla="*/ 0 w 2102644"/>
              <a:gd name="connsiteY2" fmla="*/ 6861897 h 6861897"/>
              <a:gd name="connsiteX3" fmla="*/ 2102644 w 2102644"/>
              <a:gd name="connsiteY3" fmla="*/ 6860310 h 6861897"/>
              <a:gd name="connsiteX4" fmla="*/ 2095716 w 2102644"/>
              <a:gd name="connsiteY4" fmla="*/ 4041 h 6861897"/>
              <a:gd name="connsiteX5" fmla="*/ 84499 w 2102644"/>
              <a:gd name="connsiteY5" fmla="*/ 0 h 6861897"/>
              <a:gd name="connsiteX0" fmla="*/ 84499 w 2108753"/>
              <a:gd name="connsiteY0" fmla="*/ 0 h 6861897"/>
              <a:gd name="connsiteX1" fmla="*/ 1670844 w 2108753"/>
              <a:gd name="connsiteY1" fmla="*/ 4815610 h 6861897"/>
              <a:gd name="connsiteX2" fmla="*/ 0 w 2108753"/>
              <a:gd name="connsiteY2" fmla="*/ 6861897 h 6861897"/>
              <a:gd name="connsiteX3" fmla="*/ 2102644 w 2108753"/>
              <a:gd name="connsiteY3" fmla="*/ 6860310 h 6861897"/>
              <a:gd name="connsiteX4" fmla="*/ 2108416 w 2108753"/>
              <a:gd name="connsiteY4" fmla="*/ 4041 h 6861897"/>
              <a:gd name="connsiteX5" fmla="*/ 84499 w 2108753"/>
              <a:gd name="connsiteY5" fmla="*/ 0 h 6861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8753" h="6861897">
                <a:moveTo>
                  <a:pt x="84499" y="0"/>
                </a:moveTo>
                <a:lnTo>
                  <a:pt x="1670844" y="4815610"/>
                </a:lnTo>
                <a:lnTo>
                  <a:pt x="0" y="6861897"/>
                </a:lnTo>
                <a:lnTo>
                  <a:pt x="2102644" y="6860310"/>
                </a:lnTo>
                <a:cubicBezTo>
                  <a:pt x="2100335" y="4572770"/>
                  <a:pt x="2110725" y="2291581"/>
                  <a:pt x="2108416" y="4041"/>
                </a:cubicBezTo>
                <a:lnTo>
                  <a:pt x="844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817792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538252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C83B4D-0072-CA50-510E-3238FB12D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63000" y="6356350"/>
            <a:ext cx="2012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6A5BC5E7-0B1B-38B9-0C1E-CDAB41B2D7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9085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30604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4934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A7753ADA-763C-8AFE-60B4-C9FE6EDBEAE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93431D72-17BE-5278-CA97-A4E3ADBB0E3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0643497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Längre</a:t>
            </a:r>
            <a:r>
              <a:rPr lang="en-GB" dirty="0"/>
              <a:t> </a:t>
            </a:r>
            <a:r>
              <a:rPr lang="en-GB" dirty="0" err="1"/>
              <a:t>citat</a:t>
            </a:r>
            <a:endParaRPr lang="en-GB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6431526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bild höger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9A38C11-01F6-9D03-1FBC-25B9851E86D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44166C22-E2AD-709A-7206-065AD936AAD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D566288A-D650-A9AE-12FD-F1612218803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5236196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1/3 bild höger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195786E0-D383-DC5F-B009-C2920E49484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1CB34ADF-5798-C208-EE2A-650EC5D774B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177065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39070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3A89EB75-32CD-9F72-F4B2-82FECF44F4C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0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A634BD6-67EF-6469-1918-258C4FEC790B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4043885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4786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1CB83589-DAB5-8E9D-6295-BFF6FF70FC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4440250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chemeClr val="accent3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 dirty="0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B288121-07B8-7C90-C19B-FC4352022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8FD1F74-05BE-6239-F264-8DDCAFF615F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 dirty="0"/>
          </a:p>
          <a:p>
            <a:pPr algn="l"/>
            <a:r>
              <a:rPr lang="sv-SE" sz="1600" dirty="0"/>
              <a:t>Vid val av citattecken gå upp till fontstorlek 200 och lägg centrerad.</a:t>
            </a:r>
          </a:p>
          <a:p>
            <a:pPr algn="l"/>
            <a:endParaRPr lang="sv-SE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/>
              <a:t>Vid citat: Citerad person nedanför i den mindre textrutan</a:t>
            </a:r>
          </a:p>
          <a:p>
            <a:pPr algn="l"/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264084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20948869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93775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54614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AB671B3-F376-AFED-D648-C01D07054F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C42594A-4ABC-1905-146D-68B1A8070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02255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 dirty="0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18D4FF79-BA9F-BC4A-E140-151B62BF96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3533E74F-E803-55AB-6DB9-17248A7269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ADADA163-0901-6BC0-792D-692BCE3832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472269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0C39B327-123D-7871-5440-8C925654D1E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9963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D4E1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E4817055-734D-31D6-20A4-ADC5A53FE7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70563" y="223821"/>
            <a:ext cx="560382" cy="479968"/>
          </a:xfrm>
          <a:prstGeom prst="rect">
            <a:avLst/>
          </a:prstGeom>
        </p:spPr>
      </p:pic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5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8392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435BE107-08F2-3D07-8689-1F27449BD520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338120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404B86CE-632C-F4D4-9961-FF65124C5F9D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rgbClr val="66BD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00BBF03F-2703-4623-96C8-7B9E9BF047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6D17E0-8085-F3B1-6855-647527B18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E345626-3D31-01A1-E85E-F9FD6C4301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5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7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7333">
                                          <p:cBhvr additive="base">
                                            <p:cTn id="7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7333">
                                          <p:cBhvr additive="base">
                                            <p:cTn id="8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7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7333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7333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762500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11863" y="1825625"/>
            <a:ext cx="4762500" cy="4340225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75714" y="6356350"/>
            <a:ext cx="19002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4332FA7-768D-7751-624D-9DE99EE46D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8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252744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168DBA5F-CD0F-117F-4428-AAEDD9EF6079}"/>
              </a:ext>
            </a:extLst>
          </p:cNvPr>
          <p:cNvSpPr/>
          <p:nvPr userDrawn="1"/>
        </p:nvSpPr>
        <p:spPr>
          <a:xfrm>
            <a:off x="10089357" y="-4619"/>
            <a:ext cx="2102806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2806"/>
              <a:gd name="connsiteY0" fmla="*/ 2309 h 6864206"/>
              <a:gd name="connsiteX1" fmla="*/ 1670844 w 2102806"/>
              <a:gd name="connsiteY1" fmla="*/ 4817919 h 6864206"/>
              <a:gd name="connsiteX2" fmla="*/ 0 w 2102806"/>
              <a:gd name="connsiteY2" fmla="*/ 6864206 h 6864206"/>
              <a:gd name="connsiteX3" fmla="*/ 2102644 w 2102806"/>
              <a:gd name="connsiteY3" fmla="*/ 6862619 h 6864206"/>
              <a:gd name="connsiteX4" fmla="*/ 2102066 w 2102806"/>
              <a:gd name="connsiteY4" fmla="*/ 0 h 6864206"/>
              <a:gd name="connsiteX5" fmla="*/ 84499 w 2102806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806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375" y="2287540"/>
                  <a:pt x="210206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0094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43952" y="6356350"/>
            <a:ext cx="203199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C27C74B-5DD2-B481-3589-329A5E80BC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89974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34370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89D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05703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5703"/>
              <a:gd name="connsiteY0" fmla="*/ 0 h 6861897"/>
              <a:gd name="connsiteX1" fmla="*/ 1670844 w 2105703"/>
              <a:gd name="connsiteY1" fmla="*/ 4815610 h 6861897"/>
              <a:gd name="connsiteX2" fmla="*/ 0 w 2105703"/>
              <a:gd name="connsiteY2" fmla="*/ 6861897 h 6861897"/>
              <a:gd name="connsiteX3" fmla="*/ 2102644 w 2105703"/>
              <a:gd name="connsiteY3" fmla="*/ 6860310 h 6861897"/>
              <a:gd name="connsiteX4" fmla="*/ 2105241 w 2105703"/>
              <a:gd name="connsiteY4" fmla="*/ 866 h 6861897"/>
              <a:gd name="connsiteX5" fmla="*/ 84499 w 2105703"/>
              <a:gd name="connsiteY5" fmla="*/ 0 h 6861897"/>
              <a:gd name="connsiteX0" fmla="*/ 84499 w 2105703"/>
              <a:gd name="connsiteY0" fmla="*/ 5484 h 6867381"/>
              <a:gd name="connsiteX1" fmla="*/ 1670844 w 2105703"/>
              <a:gd name="connsiteY1" fmla="*/ 4821094 h 6867381"/>
              <a:gd name="connsiteX2" fmla="*/ 0 w 2105703"/>
              <a:gd name="connsiteY2" fmla="*/ 6867381 h 6867381"/>
              <a:gd name="connsiteX3" fmla="*/ 2102644 w 2105703"/>
              <a:gd name="connsiteY3" fmla="*/ 6865794 h 6867381"/>
              <a:gd name="connsiteX4" fmla="*/ 2105241 w 2105703"/>
              <a:gd name="connsiteY4" fmla="*/ 0 h 6867381"/>
              <a:gd name="connsiteX5" fmla="*/ 84499 w 2105703"/>
              <a:gd name="connsiteY5" fmla="*/ 5484 h 6867381"/>
              <a:gd name="connsiteX0" fmla="*/ 84499 w 2105703"/>
              <a:gd name="connsiteY0" fmla="*/ 15009 h 6876906"/>
              <a:gd name="connsiteX1" fmla="*/ 1670844 w 2105703"/>
              <a:gd name="connsiteY1" fmla="*/ 4830619 h 6876906"/>
              <a:gd name="connsiteX2" fmla="*/ 0 w 2105703"/>
              <a:gd name="connsiteY2" fmla="*/ 6876906 h 6876906"/>
              <a:gd name="connsiteX3" fmla="*/ 2102644 w 2105703"/>
              <a:gd name="connsiteY3" fmla="*/ 6875319 h 6876906"/>
              <a:gd name="connsiteX4" fmla="*/ 2105241 w 2105703"/>
              <a:gd name="connsiteY4" fmla="*/ 0 h 6876906"/>
              <a:gd name="connsiteX5" fmla="*/ 84499 w 2105703"/>
              <a:gd name="connsiteY5" fmla="*/ 15009 h 6876906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8891 w 2102644"/>
              <a:gd name="connsiteY4" fmla="*/ 0 h 6864206"/>
              <a:gd name="connsiteX5" fmla="*/ 84499 w 2102644"/>
              <a:gd name="connsiteY5" fmla="*/ 2309 h 6864206"/>
              <a:gd name="connsiteX0" fmla="*/ 84499 w 2102644"/>
              <a:gd name="connsiteY0" fmla="*/ 11834 h 6873731"/>
              <a:gd name="connsiteX1" fmla="*/ 1670844 w 2102644"/>
              <a:gd name="connsiteY1" fmla="*/ 4827444 h 6873731"/>
              <a:gd name="connsiteX2" fmla="*/ 0 w 2102644"/>
              <a:gd name="connsiteY2" fmla="*/ 6873731 h 6873731"/>
              <a:gd name="connsiteX3" fmla="*/ 2102644 w 2102644"/>
              <a:gd name="connsiteY3" fmla="*/ 6872144 h 6873731"/>
              <a:gd name="connsiteX4" fmla="*/ 2092541 w 2102644"/>
              <a:gd name="connsiteY4" fmla="*/ 0 h 6873731"/>
              <a:gd name="connsiteX5" fmla="*/ 84499 w 2102644"/>
              <a:gd name="connsiteY5" fmla="*/ 11834 h 6873731"/>
              <a:gd name="connsiteX0" fmla="*/ 84499 w 2105703"/>
              <a:gd name="connsiteY0" fmla="*/ 2309 h 6864206"/>
              <a:gd name="connsiteX1" fmla="*/ 1670844 w 2105703"/>
              <a:gd name="connsiteY1" fmla="*/ 4817919 h 6864206"/>
              <a:gd name="connsiteX2" fmla="*/ 0 w 2105703"/>
              <a:gd name="connsiteY2" fmla="*/ 6864206 h 6864206"/>
              <a:gd name="connsiteX3" fmla="*/ 2102644 w 2105703"/>
              <a:gd name="connsiteY3" fmla="*/ 6862619 h 6864206"/>
              <a:gd name="connsiteX4" fmla="*/ 2105241 w 2105703"/>
              <a:gd name="connsiteY4" fmla="*/ 0 h 6864206"/>
              <a:gd name="connsiteX5" fmla="*/ 84499 w 2105703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5703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7550" y="2287540"/>
                  <a:pt x="2105241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897109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723783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571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393CB205-0ABD-8766-F7F5-3A4C42EFF3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6052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92279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9896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E1FE4D2-AAA9-6436-57A6-DDCDCFE0C6A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FA1BCA6-F4EF-BACA-6453-8FEF0EA1CEDB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 dirty="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912057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11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theme" Target="../theme/theme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oleObject" Target="../embeddings/oleObject7.bin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tags" Target="../tags/tag25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ags" Target="../tags/tag24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theme" Target="../theme/theme4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oleObject" Target="../embeddings/oleObject8.bin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tags" Target="../tags/tag31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theme" Target="../theme/theme5.xml"/><Relationship Id="rId27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tags" Target="../tags/tag39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theme" Target="../theme/theme6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>
            <a:extLst>
              <a:ext uri="{FF2B5EF4-FFF2-40B4-BE49-F238E27FC236}">
                <a16:creationId xmlns:a16="http://schemas.microsoft.com/office/drawing/2014/main" id="{3AC1C003-6F59-6F9E-D37F-C266E5B561E9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98" imgH="499" progId="TCLayout.ActiveDocument.1">
                  <p:embed/>
                </p:oleObj>
              </mc:Choice>
              <mc:Fallback>
                <p:oleObj name="think-cell Slide" r:id="rId27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6738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91" r:id="rId2"/>
    <p:sldLayoutId id="2147483853" r:id="rId3"/>
    <p:sldLayoutId id="2147483852" r:id="rId4"/>
    <p:sldLayoutId id="2147483855" r:id="rId5"/>
    <p:sldLayoutId id="2147483652" r:id="rId6"/>
    <p:sldLayoutId id="2147483650" r:id="rId7"/>
    <p:sldLayoutId id="2147483661" r:id="rId8"/>
    <p:sldLayoutId id="2147483851" r:id="rId9"/>
    <p:sldLayoutId id="2147483856" r:id="rId10"/>
    <p:sldLayoutId id="2147483947" r:id="rId11"/>
    <p:sldLayoutId id="2147483935" r:id="rId12"/>
    <p:sldLayoutId id="2147483948" r:id="rId13"/>
    <p:sldLayoutId id="2147483763" r:id="rId14"/>
    <p:sldLayoutId id="2147483909" r:id="rId15"/>
    <p:sldLayoutId id="2147483764" r:id="rId16"/>
    <p:sldLayoutId id="2147483812" r:id="rId17"/>
    <p:sldLayoutId id="2147483750" r:id="rId18"/>
    <p:sldLayoutId id="2147483938" r:id="rId19"/>
    <p:sldLayoutId id="2147483843" r:id="rId20"/>
    <p:sldLayoutId id="2147483961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98" imgH="499" progId="TCLayout.ActiveDocument.1">
                  <p:embed/>
                </p:oleObj>
              </mc:Choice>
              <mc:Fallback>
                <p:oleObj name="think-cell Slide" r:id="rId25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F4E5F144-FBB5-3BF4-612F-E956FC2AAD8F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84" r:id="rId2"/>
    <p:sldLayoutId id="2147483896" r:id="rId3"/>
    <p:sldLayoutId id="2147483922" r:id="rId4"/>
    <p:sldLayoutId id="2147483931" r:id="rId5"/>
    <p:sldLayoutId id="2147483665" r:id="rId6"/>
    <p:sldLayoutId id="2147483664" r:id="rId7"/>
    <p:sldLayoutId id="2147483863" r:id="rId8"/>
    <p:sldLayoutId id="2147483859" r:id="rId9"/>
    <p:sldLayoutId id="2147483903" r:id="rId10"/>
    <p:sldLayoutId id="2147483955" r:id="rId11"/>
    <p:sldLayoutId id="2147483680" r:id="rId12"/>
    <p:sldLayoutId id="2147483876" r:id="rId13"/>
    <p:sldLayoutId id="2147483949" r:id="rId14"/>
    <p:sldLayoutId id="2147483765" r:id="rId15"/>
    <p:sldLayoutId id="2147483818" r:id="rId16"/>
    <p:sldLayoutId id="2147483766" r:id="rId17"/>
    <p:sldLayoutId id="2147483667" r:id="rId18"/>
    <p:sldLayoutId id="2147483872" r:id="rId19"/>
    <p:sldLayoutId id="2147483940" r:id="rId20"/>
    <p:sldLayoutId id="2147483844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EA1B7142-EF6F-D62B-03AE-8E8AC4E3BCC2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021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88" r:id="rId2"/>
    <p:sldLayoutId id="2147483897" r:id="rId3"/>
    <p:sldLayoutId id="2147483923" r:id="rId4"/>
    <p:sldLayoutId id="2147483932" r:id="rId5"/>
    <p:sldLayoutId id="2147483908" r:id="rId6"/>
    <p:sldLayoutId id="2147483865" r:id="rId7"/>
    <p:sldLayoutId id="2147483867" r:id="rId8"/>
    <p:sldLayoutId id="2147483866" r:id="rId9"/>
    <p:sldLayoutId id="2147483905" r:id="rId10"/>
    <p:sldLayoutId id="2147483956" r:id="rId11"/>
    <p:sldLayoutId id="2147483869" r:id="rId12"/>
    <p:sldLayoutId id="2147483877" r:id="rId13"/>
    <p:sldLayoutId id="2147483950" r:id="rId14"/>
    <p:sldLayoutId id="2147483910" r:id="rId15"/>
    <p:sldLayoutId id="2147483911" r:id="rId16"/>
    <p:sldLayoutId id="2147483912" r:id="rId17"/>
    <p:sldLayoutId id="2147483928" r:id="rId18"/>
    <p:sldLayoutId id="2147483873" r:id="rId19"/>
    <p:sldLayoutId id="2147483941" r:id="rId20"/>
    <p:sldLayoutId id="2147483868" r:id="rId21"/>
    <p:sldLayoutId id="2147483959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3040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55B9FB1-673E-4FA5-AEAD-234B05B54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6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D98DB72C-1FCE-4460-8D25-C98D581AA9FD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89" r:id="rId2"/>
    <p:sldLayoutId id="2147483898" r:id="rId3"/>
    <p:sldLayoutId id="2147483924" r:id="rId4"/>
    <p:sldLayoutId id="2147483933" r:id="rId5"/>
    <p:sldLayoutId id="2147483683" r:id="rId6"/>
    <p:sldLayoutId id="2147483861" r:id="rId7"/>
    <p:sldLayoutId id="2147483862" r:id="rId8"/>
    <p:sldLayoutId id="2147483682" r:id="rId9"/>
    <p:sldLayoutId id="2147483906" r:id="rId10"/>
    <p:sldLayoutId id="2147483957" r:id="rId11"/>
    <p:sldLayoutId id="2147483870" r:id="rId12"/>
    <p:sldLayoutId id="2147483878" r:id="rId13"/>
    <p:sldLayoutId id="2147483951" r:id="rId14"/>
    <p:sldLayoutId id="2147483913" r:id="rId15"/>
    <p:sldLayoutId id="2147483914" r:id="rId16"/>
    <p:sldLayoutId id="2147483915" r:id="rId17"/>
    <p:sldLayoutId id="2147483929" r:id="rId18"/>
    <p:sldLayoutId id="2147483874" r:id="rId19"/>
    <p:sldLayoutId id="2147483942" r:id="rId20"/>
    <p:sldLayoutId id="2147483845" r:id="rId21"/>
    <p:sldLayoutId id="2147483960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4A3FDFF-44E2-4DA6-9568-D290BF6D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15897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98" imgH="499" progId="TCLayout.ActiveDocument.1">
                  <p:embed/>
                </p:oleObj>
              </mc:Choice>
              <mc:Fallback>
                <p:oleObj name="think-cell Slide" r:id="rId25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4A3FDFF-44E2-4DA6-9568-D290BF6D0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8C408F-CA11-4557-97D3-0875DA17FC62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7/10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7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DFC9F31C-020A-4F6B-B5AD-2634ED65740A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0" r:id="rId2"/>
    <p:sldLayoutId id="2147483899" r:id="rId3"/>
    <p:sldLayoutId id="2147483925" r:id="rId4"/>
    <p:sldLayoutId id="2147483934" r:id="rId5"/>
    <p:sldLayoutId id="2147483691" r:id="rId6"/>
    <p:sldLayoutId id="2147483690" r:id="rId7"/>
    <p:sldLayoutId id="2147483921" r:id="rId8"/>
    <p:sldLayoutId id="2147483860" r:id="rId9"/>
    <p:sldLayoutId id="2147483907" r:id="rId10"/>
    <p:sldLayoutId id="2147483958" r:id="rId11"/>
    <p:sldLayoutId id="2147483871" r:id="rId12"/>
    <p:sldLayoutId id="2147483879" r:id="rId13"/>
    <p:sldLayoutId id="2147483952" r:id="rId14"/>
    <p:sldLayoutId id="2147483916" r:id="rId15"/>
    <p:sldLayoutId id="2147483917" r:id="rId16"/>
    <p:sldLayoutId id="2147483918" r:id="rId17"/>
    <p:sldLayoutId id="2147483930" r:id="rId18"/>
    <p:sldLayoutId id="2147483875" r:id="rId19"/>
    <p:sldLayoutId id="2147483943" r:id="rId20"/>
    <p:sldLayoutId id="2147483846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1D4F78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34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7/10/2025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197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ED147F06-F6F9-854C-0F74-48B5776247A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83" r:id="rId2"/>
    <p:sldLayoutId id="2147483752" r:id="rId3"/>
    <p:sldLayoutId id="2147483784" r:id="rId4"/>
    <p:sldLayoutId id="2147483780" r:id="rId5"/>
    <p:sldLayoutId id="2147483816" r:id="rId6"/>
    <p:sldLayoutId id="2147483833" r:id="rId7"/>
    <p:sldLayoutId id="2147483857" r:id="rId8"/>
    <p:sldLayoutId id="2147483880" r:id="rId9"/>
    <p:sldLayoutId id="2147483953" r:id="rId10"/>
    <p:sldLayoutId id="2147483900" r:id="rId11"/>
    <p:sldLayoutId id="2147483944" r:id="rId12"/>
    <p:sldLayoutId id="2147483926" r:id="rId13"/>
    <p:sldLayoutId id="2147483881" r:id="rId14"/>
    <p:sldLayoutId id="2147483954" r:id="rId15"/>
    <p:sldLayoutId id="2147483858" r:id="rId16"/>
    <p:sldLayoutId id="2147483946" r:id="rId17"/>
    <p:sldLayoutId id="2147483920" r:id="rId18"/>
    <p:sldLayoutId id="2147483927" r:id="rId19"/>
    <p:sldLayoutId id="2147483742" r:id="rId20"/>
    <p:sldLayoutId id="2147483747" r:id="rId21"/>
    <p:sldLayoutId id="2147483847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4DA4439C-A183-B306-A257-A28B60568C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355074"/>
            <a:ext cx="9128777" cy="5233301"/>
          </a:xfrm>
          <a:prstGeom prst="rect">
            <a:avLst/>
          </a:prstGeom>
          <a:noFill/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F002D541-88D0-4B71-44AE-E57620B4B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251157" cy="846730"/>
          </a:xfrm>
        </p:spPr>
        <p:txBody>
          <a:bodyPr anchor="b">
            <a:normAutofit/>
          </a:bodyPr>
          <a:lstStyle/>
          <a:p>
            <a:r>
              <a:rPr lang="sv-SE" sz="2400" dirty="0"/>
              <a:t>Business Region Göteborg – jämfört med 2024</a:t>
            </a:r>
          </a:p>
        </p:txBody>
      </p:sp>
    </p:spTree>
    <p:extLst>
      <p:ext uri="{BB962C8B-B14F-4D97-AF65-F5344CB8AC3E}">
        <p14:creationId xmlns:p14="http://schemas.microsoft.com/office/powerpoint/2010/main" val="36527999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0FCC5F11-E509-A5AF-4023-145D8738BC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70945"/>
            <a:ext cx="8967730" cy="5021930"/>
          </a:xfrm>
          <a:prstGeom prst="rect">
            <a:avLst/>
          </a:prstGeom>
          <a:noFill/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0CEAD926-54E6-0B54-8A19-638C4820F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251157" cy="912832"/>
          </a:xfrm>
        </p:spPr>
        <p:txBody>
          <a:bodyPr anchor="b">
            <a:normAutofit/>
          </a:bodyPr>
          <a:lstStyle/>
          <a:p>
            <a:r>
              <a:rPr lang="sv-SE" sz="2400" dirty="0"/>
              <a:t>Business Region Göteborg – jämfört med Göteborgs kommun</a:t>
            </a:r>
          </a:p>
        </p:txBody>
      </p:sp>
    </p:spTree>
    <p:extLst>
      <p:ext uri="{BB962C8B-B14F-4D97-AF65-F5344CB8AC3E}">
        <p14:creationId xmlns:p14="http://schemas.microsoft.com/office/powerpoint/2010/main" val="2627254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dAVXJvXfn1BfT51P6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BRG Basic">
      <a:dk1>
        <a:sysClr val="windowText" lastClr="000000"/>
      </a:dk1>
      <a:lt1>
        <a:sysClr val="window" lastClr="FFFFFF"/>
      </a:lt1>
      <a:dk2>
        <a:srgbClr val="FF7487"/>
      </a:dk2>
      <a:lt2>
        <a:srgbClr val="948AF2"/>
      </a:lt2>
      <a:accent1>
        <a:srgbClr val="1D4F78"/>
      </a:accent1>
      <a:accent2>
        <a:srgbClr val="0094D8"/>
      </a:accent2>
      <a:accent3>
        <a:srgbClr val="66C1BF"/>
      </a:accent3>
      <a:accent4>
        <a:srgbClr val="66BDE6"/>
      </a:accent4>
      <a:accent5>
        <a:srgbClr val="A2D8D7"/>
      </a:accent5>
      <a:accent6>
        <a:srgbClr val="A3BDC7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owerPoint-mall" id="{B84E6EB1-BBDE-4EE5-A6F1-6B0A51FAA121}" vid="{D04BC41D-4B59-4896-8DDE-6806C1A59620}"/>
    </a:ext>
  </a:extLst>
</a:theme>
</file>

<file path=ppt/theme/theme2.xml><?xml version="1.0" encoding="utf-8"?>
<a:theme xmlns:a="http://schemas.openxmlformats.org/drawingml/2006/main" name="BRG Mörkblå">
  <a:themeElements>
    <a:clrScheme name="Anpassat 5">
      <a:dk1>
        <a:sysClr val="windowText" lastClr="000000"/>
      </a:dk1>
      <a:lt1>
        <a:sysClr val="window" lastClr="FFFFFF"/>
      </a:lt1>
      <a:dk2>
        <a:srgbClr val="948AF2"/>
      </a:dk2>
      <a:lt2>
        <a:srgbClr val="FF7487"/>
      </a:lt2>
      <a:accent1>
        <a:srgbClr val="1D4F78"/>
      </a:accent1>
      <a:accent2>
        <a:srgbClr val="6889A4"/>
      </a:accent2>
      <a:accent3>
        <a:srgbClr val="A3B7C7"/>
      </a:accent3>
      <a:accent4>
        <a:srgbClr val="D0DAE2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owerPoint-mall" id="{B84E6EB1-BBDE-4EE5-A6F1-6B0A51FAA121}" vid="{F960D21E-B6CE-4FF9-9C54-5DD1375AA0DF}"/>
    </a:ext>
  </a:extLst>
</a:theme>
</file>

<file path=ppt/theme/theme3.xml><?xml version="1.0" encoding="utf-8"?>
<a:theme xmlns:a="http://schemas.openxmlformats.org/drawingml/2006/main" name="BRG Lila">
  <a:themeElements>
    <a:clrScheme name="BRG Tech">
      <a:dk1>
        <a:sysClr val="windowText" lastClr="000000"/>
      </a:dk1>
      <a:lt1>
        <a:sysClr val="window" lastClr="FFFFFF"/>
      </a:lt1>
      <a:dk2>
        <a:srgbClr val="FBE734"/>
      </a:dk2>
      <a:lt2>
        <a:srgbClr val="FF7487"/>
      </a:lt2>
      <a:accent1>
        <a:srgbClr val="948AF2"/>
      </a:accent1>
      <a:accent2>
        <a:srgbClr val="BDB7F6"/>
      </a:accent2>
      <a:accent3>
        <a:srgbClr val="D3CFF8"/>
      </a:accent3>
      <a:accent4>
        <a:srgbClr val="323232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owerPoint-mall" id="{B84E6EB1-BBDE-4EE5-A6F1-6B0A51FAA121}" vid="{D3E0BE46-9F16-42BB-BF85-44F17832336F}"/>
    </a:ext>
  </a:extLst>
</a:theme>
</file>

<file path=ppt/theme/theme4.xml><?xml version="1.0" encoding="utf-8"?>
<a:theme xmlns:a="http://schemas.openxmlformats.org/drawingml/2006/main" name="BRG Turkos">
  <a:themeElements>
    <a:clrScheme name="BRG Turkos">
      <a:dk1>
        <a:sysClr val="windowText" lastClr="000000"/>
      </a:dk1>
      <a:lt1>
        <a:sysClr val="window" lastClr="FFFFFF"/>
      </a:lt1>
      <a:dk2>
        <a:srgbClr val="948AF2"/>
      </a:dk2>
      <a:lt2>
        <a:srgbClr val="FF7487"/>
      </a:lt2>
      <a:accent1>
        <a:srgbClr val="66C1BF"/>
      </a:accent1>
      <a:accent2>
        <a:srgbClr val="A3D8D7"/>
      </a:accent2>
      <a:accent3>
        <a:srgbClr val="C0E5E4"/>
      </a:accent3>
      <a:accent4>
        <a:srgbClr val="DFF1F1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owerPoint-mall" id="{B84E6EB1-BBDE-4EE5-A6F1-6B0A51FAA121}" vid="{6D89D917-F286-4D19-B0EA-7B5817AB9D67}"/>
    </a:ext>
  </a:extLst>
</a:theme>
</file>

<file path=ppt/theme/theme5.xml><?xml version="1.0" encoding="utf-8"?>
<a:theme xmlns:a="http://schemas.openxmlformats.org/drawingml/2006/main" name="BRG Ljusblå">
  <a:themeElements>
    <a:clrScheme name="BRG Ljusblå">
      <a:dk1>
        <a:sysClr val="windowText" lastClr="000000"/>
      </a:dk1>
      <a:lt1>
        <a:sysClr val="window" lastClr="FFFFFF"/>
      </a:lt1>
      <a:dk2>
        <a:srgbClr val="948AF2"/>
      </a:dk2>
      <a:lt2>
        <a:srgbClr val="FF7487"/>
      </a:lt2>
      <a:accent1>
        <a:srgbClr val="0094D8"/>
      </a:accent1>
      <a:accent2>
        <a:srgbClr val="66BDE6"/>
      </a:accent2>
      <a:accent3>
        <a:srgbClr val="98D3EE"/>
      </a:accent3>
      <a:accent4>
        <a:srgbClr val="CBE8F6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owerPoint-mall" id="{B84E6EB1-BBDE-4EE5-A6F1-6B0A51FAA121}" vid="{F0D0ADCA-551F-427B-B224-0F6E6A11849D}"/>
    </a:ext>
  </a:extLst>
</a:theme>
</file>

<file path=ppt/theme/theme6.xml><?xml version="1.0" encoding="utf-8"?>
<a:theme xmlns:a="http://schemas.openxmlformats.org/drawingml/2006/main" name="BRG Advanced">
  <a:themeElements>
    <a:clrScheme name="BRG Basic">
      <a:dk1>
        <a:sysClr val="windowText" lastClr="000000"/>
      </a:dk1>
      <a:lt1>
        <a:sysClr val="window" lastClr="FFFFFF"/>
      </a:lt1>
      <a:dk2>
        <a:srgbClr val="FF7487"/>
      </a:dk2>
      <a:lt2>
        <a:srgbClr val="948AF2"/>
      </a:lt2>
      <a:accent1>
        <a:srgbClr val="1D4F78"/>
      </a:accent1>
      <a:accent2>
        <a:srgbClr val="0094D8"/>
      </a:accent2>
      <a:accent3>
        <a:srgbClr val="66C1BF"/>
      </a:accent3>
      <a:accent4>
        <a:srgbClr val="66BDE6"/>
      </a:accent4>
      <a:accent5>
        <a:srgbClr val="A2D8D7"/>
      </a:accent5>
      <a:accent6>
        <a:srgbClr val="A3BDC7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owerPoint-mall" id="{B84E6EB1-BBDE-4EE5-A6F1-6B0A51FAA121}" vid="{1BB8182B-24FF-48FE-BAFF-4F67A267E38C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e20f51-64b8-46e4-896b-8fe42c259e2e">
      <Terms xmlns="http://schemas.microsoft.com/office/infopath/2007/PartnerControls"/>
    </lcf76f155ced4ddcb4097134ff3c332f>
    <TaxCatchAll xmlns="a3ec5e2d-cca3-48bb-ad56-3dcb909078c6"/>
    <Dokumenttyp xmlns="15e20f51-64b8-46e4-896b-8fe42c259e2e"/>
    <_x0078_pu6 xmlns="15e20f51-64b8-46e4-896b-8fe42c259e2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17C397D666DA54CA74E47F460D03DF1" ma:contentTypeVersion="20" ma:contentTypeDescription="Skapa ett nytt dokument." ma:contentTypeScope="" ma:versionID="0bf81d79ed1575d759ea98065bad86f2">
  <xsd:schema xmlns:xsd="http://www.w3.org/2001/XMLSchema" xmlns:xs="http://www.w3.org/2001/XMLSchema" xmlns:p="http://schemas.microsoft.com/office/2006/metadata/properties" xmlns:ns2="15e20f51-64b8-46e4-896b-8fe42c259e2e" xmlns:ns3="a3ec5e2d-cca3-48bb-ad56-3dcb909078c6" targetNamespace="http://schemas.microsoft.com/office/2006/metadata/properties" ma:root="true" ma:fieldsID="2849d4b6b5c0398ee23945a022b1de7e" ns2:_="" ns3:_="">
    <xsd:import namespace="15e20f51-64b8-46e4-896b-8fe42c259e2e"/>
    <xsd:import namespace="a3ec5e2d-cca3-48bb-ad56-3dcb909078c6"/>
    <xsd:element name="properties">
      <xsd:complexType>
        <xsd:sequence>
          <xsd:element name="documentManagement">
            <xsd:complexType>
              <xsd:all>
                <xsd:element ref="ns2:_x0078_pu6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Dokumenttyp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e20f51-64b8-46e4-896b-8fe42c259e2e" elementFormDefault="qualified">
    <xsd:import namespace="http://schemas.microsoft.com/office/2006/documentManagement/types"/>
    <xsd:import namespace="http://schemas.microsoft.com/office/infopath/2007/PartnerControls"/>
    <xsd:element name="_x0078_pu6" ma:index="8" nillable="true" ma:displayName="Kategori" ma:internalName="_x0078_pu6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kumenttyp" ma:index="17" nillable="true" ma:displayName="Dokumenttyp" ma:format="Dropdown" ma:internalName="Dokumenttyp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genda"/>
                    <xsd:enumeration value="Annons"/>
                    <xsd:enumeration value="Anteckningar"/>
                    <xsd:enumeration value="Artikel"/>
                    <xsd:enumeration value="Avtal BRG"/>
                    <xsd:enumeration value="Bild - samma som bilder?"/>
                    <xsd:enumeration value="Bilder"/>
                    <xsd:enumeration value="Brief"/>
                    <xsd:enumeration value="Checklista"/>
                    <xsd:enumeration value="Film"/>
                    <xsd:enumeration value="Företagspresentation"/>
                    <xsd:enumeration value="Guide"/>
                    <xsd:enumeration value="Inbjudan"/>
                    <xsd:enumeration value="Inspiration"/>
                    <xsd:enumeration value="Kommunikationsplan"/>
                    <xsd:enumeration value="Kommunikationsplattform"/>
                    <xsd:enumeration value="Kommunikationsstrategi"/>
                    <xsd:enumeration value="Konceptbrief"/>
                    <xsd:enumeration value="Lathund"/>
                    <xsd:enumeration value="Mall"/>
                    <xsd:enumeration value="Nyhetsbrev"/>
                    <xsd:enumeration value="Offert"/>
                    <xsd:enumeration value="Presentation"/>
                    <xsd:enumeration value="Pressinbjudan"/>
                    <xsd:enumeration value="Pressmeddelande"/>
                    <xsd:enumeration value="Protokoll"/>
                    <xsd:enumeration value="Rapport"/>
                    <xsd:enumeration value="Sekretessbeslut BRG"/>
                    <xsd:enumeration value="Statistik"/>
                    <xsd:enumeration value="Styrdokument"/>
                    <xsd:enumeration value="Trycksak"/>
                    <xsd:enumeration value="Uppföljning"/>
                    <xsd:enumeration value="Utlämning"/>
                    <xsd:enumeration value="Utvärdering"/>
                    <xsd:enumeration value="Webbplatser"/>
                    <xsd:enumeration value="Övrigt"/>
                  </xsd:restriction>
                </xsd:simpleType>
              </xsd:element>
            </xsd:sequence>
          </xsd:extension>
        </xsd:complexContent>
      </xsd:complex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dmarkeringar" ma:readOnly="false" ma:fieldId="{5cf76f15-5ced-4ddc-b409-7134ff3c332f}" ma:taxonomyMulti="true" ma:sspId="bbc6842c-bab5-4d9d-b230-1af466340fa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ec5e2d-cca3-48bb-ad56-3dcb909078c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135dec1d-3576-44be-95cb-b05642b5db78}" ma:internalName="TaxCatchAll" ma:showField="CatchAllData" ma:web="a3ec5e2d-cca3-48bb-ad56-3dcb909078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A82822-267C-4AA6-BD2A-9B014F9E1AB7}">
  <ds:schemaRefs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a3ec5e2d-cca3-48bb-ad56-3dcb909078c6"/>
    <ds:schemaRef ds:uri="http://schemas.openxmlformats.org/package/2006/metadata/core-properties"/>
    <ds:schemaRef ds:uri="15e20f51-64b8-46e4-896b-8fe42c259e2e"/>
  </ds:schemaRefs>
</ds:datastoreItem>
</file>

<file path=customXml/itemProps2.xml><?xml version="1.0" encoding="utf-8"?>
<ds:datastoreItem xmlns:ds="http://schemas.openxmlformats.org/officeDocument/2006/customXml" ds:itemID="{BE581B09-38A1-4104-82D8-50C589767C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516ADC-4393-4402-8853-9BCCF3F056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e20f51-64b8-46e4-896b-8fe42c259e2e"/>
    <ds:schemaRef ds:uri="a3ec5e2d-cca3-48bb-ad56-3dcb909078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G PowerPoint-mall</Template>
  <TotalTime>0</TotalTime>
  <Words>27</Words>
  <Application>Microsoft Office PowerPoint</Application>
  <PresentationFormat>Widescreen</PresentationFormat>
  <Paragraphs>6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BRG Basic</vt:lpstr>
      <vt:lpstr>BRG Mörkblå</vt:lpstr>
      <vt:lpstr>BRG Lila</vt:lpstr>
      <vt:lpstr>BRG Turkos</vt:lpstr>
      <vt:lpstr>BRG Ljusblå</vt:lpstr>
      <vt:lpstr>BRG Advanced</vt:lpstr>
      <vt:lpstr>Business Region Göteborg – jämfört med 2024</vt:lpstr>
      <vt:lpstr>Business Region Göteborg – jämfört med Göteborgs kommu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ena Altbrink</dc:creator>
  <cp:lastModifiedBy>Lena Altbrink</cp:lastModifiedBy>
  <cp:revision>2</cp:revision>
  <cp:lastPrinted>2025-09-02T13:42:02Z</cp:lastPrinted>
  <dcterms:created xsi:type="dcterms:W3CDTF">2025-10-27T07:14:29Z</dcterms:created>
  <dcterms:modified xsi:type="dcterms:W3CDTF">2025-10-27T07:3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7C397D666DA54CA74E47F460D03DF1</vt:lpwstr>
  </property>
  <property fmtid="{D5CDD505-2E9C-101B-9397-08002B2CF9AE}" pid="3" name="MediaServiceImageTags">
    <vt:lpwstr/>
  </property>
</Properties>
</file>